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838" r:id="rId5"/>
  </p:sldMasterIdLst>
  <p:notesMasterIdLst>
    <p:notesMasterId r:id="rId16"/>
  </p:notesMasterIdLst>
  <p:handoutMasterIdLst>
    <p:handoutMasterId r:id="rId17"/>
  </p:handoutMasterIdLst>
  <p:sldIdLst>
    <p:sldId id="258" r:id="rId6"/>
    <p:sldId id="373" r:id="rId7"/>
    <p:sldId id="374" r:id="rId8"/>
    <p:sldId id="376" r:id="rId9"/>
    <p:sldId id="377" r:id="rId10"/>
    <p:sldId id="378" r:id="rId11"/>
    <p:sldId id="375" r:id="rId12"/>
    <p:sldId id="379" r:id="rId13"/>
    <p:sldId id="380" r:id="rId14"/>
    <p:sldId id="381" r:id="rId15"/>
  </p:sldIdLst>
  <p:sldSz cx="12192000" cy="6858000"/>
  <p:notesSz cx="6858000" cy="9144000"/>
  <p:custDataLst>
    <p:tags r:id="rId1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7E7"/>
    <a:srgbClr val="88D5ED"/>
    <a:srgbClr val="80B8D6"/>
    <a:srgbClr val="FF7E83"/>
    <a:srgbClr val="FF6327"/>
    <a:srgbClr val="01D1D0"/>
    <a:srgbClr val="0070AD"/>
    <a:srgbClr val="7F7F7F"/>
    <a:srgbClr val="6D64CC"/>
    <a:srgbClr val="7E39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17" autoAdjust="0"/>
    <p:restoredTop sz="92937" autoAdjust="0"/>
  </p:normalViewPr>
  <p:slideViewPr>
    <p:cSldViewPr>
      <p:cViewPr varScale="1">
        <p:scale>
          <a:sx n="70" d="100"/>
          <a:sy n="70" d="100"/>
        </p:scale>
        <p:origin x="652" y="60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9188"/>
    </p:cViewPr>
  </p:sorterViewPr>
  <p:notesViewPr>
    <p:cSldViewPr>
      <p:cViewPr varScale="1">
        <p:scale>
          <a:sx n="79" d="100"/>
          <a:sy n="79" d="100"/>
        </p:scale>
        <p:origin x="2352" y="76"/>
      </p:cViewPr>
      <p:guideLst/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65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DDC1DE3-705C-4F7C-9BB3-BBB6BB8DD2E1}" type="doc">
      <dgm:prSet loTypeId="urn:microsoft.com/office/officeart/2005/8/layout/radial1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911B2E90-9CE4-40B2-B6CA-FE4CF82507E2}">
      <dgm:prSet phldrT="[Text]"/>
      <dgm:spPr/>
      <dgm:t>
        <a:bodyPr/>
        <a:lstStyle/>
        <a:p>
          <a:r>
            <a:rPr lang="en-IN" b="1" dirty="0" smtClean="0"/>
            <a:t>Streams</a:t>
          </a:r>
          <a:endParaRPr lang="en-IN" b="1" dirty="0"/>
        </a:p>
      </dgm:t>
    </dgm:pt>
    <dgm:pt modelId="{19C4FBC0-B5FE-4EA3-A6F2-5C2B34425AC5}" type="parTrans" cxnId="{4D39F709-845D-48DB-BCD6-DEE0544246AA}">
      <dgm:prSet/>
      <dgm:spPr/>
      <dgm:t>
        <a:bodyPr/>
        <a:lstStyle/>
        <a:p>
          <a:endParaRPr lang="en-IN"/>
        </a:p>
      </dgm:t>
    </dgm:pt>
    <dgm:pt modelId="{5EFD91F4-1204-48CF-BFEB-6085F964AE6D}" type="sibTrans" cxnId="{4D39F709-845D-48DB-BCD6-DEE0544246AA}">
      <dgm:prSet/>
      <dgm:spPr/>
      <dgm:t>
        <a:bodyPr/>
        <a:lstStyle/>
        <a:p>
          <a:endParaRPr lang="en-IN"/>
        </a:p>
      </dgm:t>
    </dgm:pt>
    <dgm:pt modelId="{3BECBD1D-0FB6-42B5-BF4C-0257F64BDE62}">
      <dgm:prSet phldrT="[Text]" custT="1"/>
      <dgm:spPr/>
      <dgm:t>
        <a:bodyPr/>
        <a:lstStyle/>
        <a:p>
          <a:r>
            <a:rPr lang="en-IN" sz="800" b="1" dirty="0" smtClean="0"/>
            <a:t>Vendor</a:t>
          </a:r>
          <a:endParaRPr lang="en-IN" sz="800" b="1" dirty="0"/>
        </a:p>
      </dgm:t>
    </dgm:pt>
    <dgm:pt modelId="{25560F1D-66E6-4ACF-A182-AD2AFDA5D89C}" type="parTrans" cxnId="{9E39065E-5D20-4D90-97BF-29EF1DC6733B}">
      <dgm:prSet/>
      <dgm:spPr/>
      <dgm:t>
        <a:bodyPr/>
        <a:lstStyle/>
        <a:p>
          <a:endParaRPr lang="en-IN"/>
        </a:p>
      </dgm:t>
    </dgm:pt>
    <dgm:pt modelId="{FE5FECE8-8D21-4C01-B23C-F328950C1D9E}" type="sibTrans" cxnId="{9E39065E-5D20-4D90-97BF-29EF1DC6733B}">
      <dgm:prSet/>
      <dgm:spPr/>
      <dgm:t>
        <a:bodyPr/>
        <a:lstStyle/>
        <a:p>
          <a:endParaRPr lang="en-IN"/>
        </a:p>
      </dgm:t>
    </dgm:pt>
    <dgm:pt modelId="{DA45F6E6-9922-429A-8814-F36225B44426}">
      <dgm:prSet phldrT="[Text]" custT="1"/>
      <dgm:spPr/>
      <dgm:t>
        <a:bodyPr/>
        <a:lstStyle/>
        <a:p>
          <a:r>
            <a:rPr lang="en-IN" sz="800" b="1" dirty="0" smtClean="0"/>
            <a:t>Supported Platforms</a:t>
          </a:r>
          <a:endParaRPr lang="en-IN" sz="800" b="1" dirty="0"/>
        </a:p>
      </dgm:t>
    </dgm:pt>
    <dgm:pt modelId="{37F0E33E-3441-4D06-B6A1-62F4EB14D24D}" type="parTrans" cxnId="{1F78DAC9-D601-4A44-8A17-0BB1B35173CC}">
      <dgm:prSet/>
      <dgm:spPr/>
      <dgm:t>
        <a:bodyPr/>
        <a:lstStyle/>
        <a:p>
          <a:endParaRPr lang="en-IN"/>
        </a:p>
      </dgm:t>
    </dgm:pt>
    <dgm:pt modelId="{112EBB85-27C4-4A97-B46B-3A3D6E2B1B48}" type="sibTrans" cxnId="{1F78DAC9-D601-4A44-8A17-0BB1B35173CC}">
      <dgm:prSet/>
      <dgm:spPr/>
      <dgm:t>
        <a:bodyPr/>
        <a:lstStyle/>
        <a:p>
          <a:endParaRPr lang="en-IN"/>
        </a:p>
      </dgm:t>
    </dgm:pt>
    <dgm:pt modelId="{3F052DB4-6AF7-4813-BACE-A2E704DBB37F}">
      <dgm:prSet phldrT="[Text]" custT="1"/>
      <dgm:spPr/>
      <dgm:t>
        <a:bodyPr/>
        <a:lstStyle/>
        <a:p>
          <a:r>
            <a:rPr lang="en-IN" sz="800" b="1" dirty="0" smtClean="0"/>
            <a:t>Line of Business</a:t>
          </a:r>
          <a:endParaRPr lang="en-IN" sz="800" b="1" dirty="0"/>
        </a:p>
      </dgm:t>
    </dgm:pt>
    <dgm:pt modelId="{6D33F3FC-0E10-4284-A597-77C5975B7BA4}" type="parTrans" cxnId="{628A77C9-4A50-4D11-B6F3-1B5AEA68BFDD}">
      <dgm:prSet/>
      <dgm:spPr/>
      <dgm:t>
        <a:bodyPr/>
        <a:lstStyle/>
        <a:p>
          <a:endParaRPr lang="en-IN"/>
        </a:p>
      </dgm:t>
    </dgm:pt>
    <dgm:pt modelId="{91BE8363-81F0-4BE8-8E4A-B3F51ADC2DB3}" type="sibTrans" cxnId="{628A77C9-4A50-4D11-B6F3-1B5AEA68BFDD}">
      <dgm:prSet/>
      <dgm:spPr/>
      <dgm:t>
        <a:bodyPr/>
        <a:lstStyle/>
        <a:p>
          <a:endParaRPr lang="en-IN"/>
        </a:p>
      </dgm:t>
    </dgm:pt>
    <dgm:pt modelId="{CF1D5E6A-4E50-4BE8-AD40-D29D0D8CBC73}">
      <dgm:prSet phldrT="[Text]" custT="1"/>
      <dgm:spPr/>
      <dgm:t>
        <a:bodyPr/>
        <a:lstStyle/>
        <a:p>
          <a:r>
            <a:rPr lang="en-IN" sz="800" b="1" dirty="0" smtClean="0"/>
            <a:t>Industries</a:t>
          </a:r>
          <a:endParaRPr lang="en-IN" sz="800" b="1" dirty="0"/>
        </a:p>
      </dgm:t>
    </dgm:pt>
    <dgm:pt modelId="{E6E3FDDC-5659-4D7A-B738-5D1B0D749651}" type="parTrans" cxnId="{FB602B74-0C19-4960-BE8F-E5A5DA4E683C}">
      <dgm:prSet/>
      <dgm:spPr/>
      <dgm:t>
        <a:bodyPr/>
        <a:lstStyle/>
        <a:p>
          <a:endParaRPr lang="en-IN"/>
        </a:p>
      </dgm:t>
    </dgm:pt>
    <dgm:pt modelId="{1CF2E2ED-6FD1-4415-9EDB-7802178DAD39}" type="sibTrans" cxnId="{FB602B74-0C19-4960-BE8F-E5A5DA4E683C}">
      <dgm:prSet/>
      <dgm:spPr/>
      <dgm:t>
        <a:bodyPr/>
        <a:lstStyle/>
        <a:p>
          <a:endParaRPr lang="en-IN"/>
        </a:p>
      </dgm:t>
    </dgm:pt>
    <dgm:pt modelId="{5EB21259-E629-4C9D-8714-55E1EE19D5E5}">
      <dgm:prSet custT="1"/>
      <dgm:spPr/>
      <dgm:t>
        <a:bodyPr/>
        <a:lstStyle/>
        <a:p>
          <a:r>
            <a:rPr lang="en-IN" sz="800" b="1" dirty="0" smtClean="0"/>
            <a:t>Products</a:t>
          </a:r>
          <a:endParaRPr lang="en-IN" sz="800" b="1" dirty="0"/>
        </a:p>
      </dgm:t>
      <dgm:extLst>
        <a:ext uri="{E40237B7-FDA0-4F09-8148-C483321AD2D9}">
          <dgm14:cNvPr xmlns:dgm14="http://schemas.microsoft.com/office/drawing/2010/diagram" id="0" name="" descr="Products&#10;" title="Products"/>
        </a:ext>
      </dgm:extLst>
    </dgm:pt>
    <dgm:pt modelId="{ADCEE885-0F84-47F8-894C-4CAC4CDB1E68}" type="parTrans" cxnId="{DEA5C89B-16CA-401F-803B-1CB22C520E0E}">
      <dgm:prSet/>
      <dgm:spPr/>
      <dgm:t>
        <a:bodyPr/>
        <a:lstStyle/>
        <a:p>
          <a:endParaRPr lang="en-IN"/>
        </a:p>
      </dgm:t>
    </dgm:pt>
    <dgm:pt modelId="{96E6B873-3192-4566-9E75-DB5C9CAC03E6}" type="sibTrans" cxnId="{DEA5C89B-16CA-401F-803B-1CB22C520E0E}">
      <dgm:prSet/>
      <dgm:spPr/>
      <dgm:t>
        <a:bodyPr/>
        <a:lstStyle/>
        <a:p>
          <a:endParaRPr lang="en-IN"/>
        </a:p>
      </dgm:t>
    </dgm:pt>
    <dgm:pt modelId="{BEAE320C-2E66-4D5B-8B47-B6EE3F782E5B}">
      <dgm:prSet custT="1"/>
      <dgm:spPr/>
      <dgm:t>
        <a:bodyPr/>
        <a:lstStyle/>
        <a:p>
          <a:r>
            <a:rPr lang="en-IN" sz="800" b="1" dirty="0" smtClean="0"/>
            <a:t>Countries</a:t>
          </a:r>
          <a:endParaRPr lang="en-IN" sz="800" b="1" dirty="0"/>
        </a:p>
      </dgm:t>
    </dgm:pt>
    <dgm:pt modelId="{8F40D44B-1B80-47DE-9399-F07D135DA0F4}" type="parTrans" cxnId="{C58C8078-5D31-468A-8A09-0BFBE2F481F5}">
      <dgm:prSet/>
      <dgm:spPr/>
      <dgm:t>
        <a:bodyPr/>
        <a:lstStyle/>
        <a:p>
          <a:endParaRPr lang="en-IN"/>
        </a:p>
      </dgm:t>
    </dgm:pt>
    <dgm:pt modelId="{EC7DF901-377B-45F9-8008-0B20046E0230}" type="sibTrans" cxnId="{C58C8078-5D31-468A-8A09-0BFBE2F481F5}">
      <dgm:prSet/>
      <dgm:spPr/>
      <dgm:t>
        <a:bodyPr/>
        <a:lstStyle/>
        <a:p>
          <a:endParaRPr lang="en-IN"/>
        </a:p>
      </dgm:t>
    </dgm:pt>
    <dgm:pt modelId="{5389E375-B0D4-47A3-B881-B5A524709D75}" type="pres">
      <dgm:prSet presAssocID="{EDDC1DE3-705C-4F7C-9BB3-BBB6BB8DD2E1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6B800BB7-A143-486C-A386-3C6B8C6965CE}" type="pres">
      <dgm:prSet presAssocID="{911B2E90-9CE4-40B2-B6CA-FE4CF82507E2}" presName="centerShape" presStyleLbl="node0" presStyleIdx="0" presStyleCnt="1"/>
      <dgm:spPr/>
      <dgm:t>
        <a:bodyPr/>
        <a:lstStyle/>
        <a:p>
          <a:endParaRPr lang="en-IN"/>
        </a:p>
      </dgm:t>
    </dgm:pt>
    <dgm:pt modelId="{B01A79C7-6402-4243-BF17-F1E37FCDF7E5}" type="pres">
      <dgm:prSet presAssocID="{25560F1D-66E6-4ACF-A182-AD2AFDA5D89C}" presName="Name9" presStyleLbl="parChTrans1D2" presStyleIdx="0" presStyleCnt="6"/>
      <dgm:spPr/>
      <dgm:t>
        <a:bodyPr/>
        <a:lstStyle/>
        <a:p>
          <a:endParaRPr lang="en-IN"/>
        </a:p>
      </dgm:t>
    </dgm:pt>
    <dgm:pt modelId="{7BD67683-2650-43D7-9907-166AEBF980EF}" type="pres">
      <dgm:prSet presAssocID="{25560F1D-66E6-4ACF-A182-AD2AFDA5D89C}" presName="connTx" presStyleLbl="parChTrans1D2" presStyleIdx="0" presStyleCnt="6"/>
      <dgm:spPr/>
      <dgm:t>
        <a:bodyPr/>
        <a:lstStyle/>
        <a:p>
          <a:endParaRPr lang="en-IN"/>
        </a:p>
      </dgm:t>
    </dgm:pt>
    <dgm:pt modelId="{68BB6312-97E9-4BEB-8E76-A6C4A4781C19}" type="pres">
      <dgm:prSet presAssocID="{3BECBD1D-0FB6-42B5-BF4C-0257F64BDE62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22382EF4-F490-4A29-9F80-AE8E3ABE0792}" type="pres">
      <dgm:prSet presAssocID="{37F0E33E-3441-4D06-B6A1-62F4EB14D24D}" presName="Name9" presStyleLbl="parChTrans1D2" presStyleIdx="1" presStyleCnt="6"/>
      <dgm:spPr/>
      <dgm:t>
        <a:bodyPr/>
        <a:lstStyle/>
        <a:p>
          <a:endParaRPr lang="en-IN"/>
        </a:p>
      </dgm:t>
    </dgm:pt>
    <dgm:pt modelId="{90F9842C-C392-4488-81ED-E95407B1DF93}" type="pres">
      <dgm:prSet presAssocID="{37F0E33E-3441-4D06-B6A1-62F4EB14D24D}" presName="connTx" presStyleLbl="parChTrans1D2" presStyleIdx="1" presStyleCnt="6"/>
      <dgm:spPr/>
      <dgm:t>
        <a:bodyPr/>
        <a:lstStyle/>
        <a:p>
          <a:endParaRPr lang="en-IN"/>
        </a:p>
      </dgm:t>
    </dgm:pt>
    <dgm:pt modelId="{D7AB624B-66F5-416D-AB0E-BA019C5B6CBD}" type="pres">
      <dgm:prSet presAssocID="{DA45F6E6-9922-429A-8814-F36225B44426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A24CD9B4-4974-4F41-A804-40311BEEF9D8}" type="pres">
      <dgm:prSet presAssocID="{6D33F3FC-0E10-4284-A597-77C5975B7BA4}" presName="Name9" presStyleLbl="parChTrans1D2" presStyleIdx="2" presStyleCnt="6"/>
      <dgm:spPr/>
      <dgm:t>
        <a:bodyPr/>
        <a:lstStyle/>
        <a:p>
          <a:endParaRPr lang="en-IN"/>
        </a:p>
      </dgm:t>
    </dgm:pt>
    <dgm:pt modelId="{30A2B1E5-3F60-4D72-A45D-BE66009897D4}" type="pres">
      <dgm:prSet presAssocID="{6D33F3FC-0E10-4284-A597-77C5975B7BA4}" presName="connTx" presStyleLbl="parChTrans1D2" presStyleIdx="2" presStyleCnt="6"/>
      <dgm:spPr/>
      <dgm:t>
        <a:bodyPr/>
        <a:lstStyle/>
        <a:p>
          <a:endParaRPr lang="en-IN"/>
        </a:p>
      </dgm:t>
    </dgm:pt>
    <dgm:pt modelId="{2BAE505D-FD5F-40C0-8499-935A83E43698}" type="pres">
      <dgm:prSet presAssocID="{3F052DB4-6AF7-4813-BACE-A2E704DBB37F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D962AE1-F818-40DB-854C-707DDBE2B144}" type="pres">
      <dgm:prSet presAssocID="{E6E3FDDC-5659-4D7A-B738-5D1B0D749651}" presName="Name9" presStyleLbl="parChTrans1D2" presStyleIdx="3" presStyleCnt="6"/>
      <dgm:spPr/>
      <dgm:t>
        <a:bodyPr/>
        <a:lstStyle/>
        <a:p>
          <a:endParaRPr lang="en-IN"/>
        </a:p>
      </dgm:t>
    </dgm:pt>
    <dgm:pt modelId="{9E9C92EB-FBB9-4603-9180-B278A19A409B}" type="pres">
      <dgm:prSet presAssocID="{E6E3FDDC-5659-4D7A-B738-5D1B0D749651}" presName="connTx" presStyleLbl="parChTrans1D2" presStyleIdx="3" presStyleCnt="6"/>
      <dgm:spPr/>
      <dgm:t>
        <a:bodyPr/>
        <a:lstStyle/>
        <a:p>
          <a:endParaRPr lang="en-IN"/>
        </a:p>
      </dgm:t>
    </dgm:pt>
    <dgm:pt modelId="{AE3A0D20-A11D-4BB6-965C-DF4270D7F72A}" type="pres">
      <dgm:prSet presAssocID="{CF1D5E6A-4E50-4BE8-AD40-D29D0D8CBC73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45ADF3D5-4AF2-4817-99F2-2DDE7A10D5C5}" type="pres">
      <dgm:prSet presAssocID="{ADCEE885-0F84-47F8-894C-4CAC4CDB1E68}" presName="Name9" presStyleLbl="parChTrans1D2" presStyleIdx="4" presStyleCnt="6"/>
      <dgm:spPr/>
      <dgm:t>
        <a:bodyPr/>
        <a:lstStyle/>
        <a:p>
          <a:endParaRPr lang="en-IN"/>
        </a:p>
      </dgm:t>
    </dgm:pt>
    <dgm:pt modelId="{477C2E0C-BC4E-4890-BE8C-3A0C6DF07910}" type="pres">
      <dgm:prSet presAssocID="{ADCEE885-0F84-47F8-894C-4CAC4CDB1E68}" presName="connTx" presStyleLbl="parChTrans1D2" presStyleIdx="4" presStyleCnt="6"/>
      <dgm:spPr/>
      <dgm:t>
        <a:bodyPr/>
        <a:lstStyle/>
        <a:p>
          <a:endParaRPr lang="en-IN"/>
        </a:p>
      </dgm:t>
    </dgm:pt>
    <dgm:pt modelId="{37DCB91B-28EC-4CF3-8537-A91C4070485E}" type="pres">
      <dgm:prSet presAssocID="{5EB21259-E629-4C9D-8714-55E1EE19D5E5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7F3B3B52-6938-4E90-8DA4-BB41B34017C7}" type="pres">
      <dgm:prSet presAssocID="{8F40D44B-1B80-47DE-9399-F07D135DA0F4}" presName="Name9" presStyleLbl="parChTrans1D2" presStyleIdx="5" presStyleCnt="6"/>
      <dgm:spPr/>
      <dgm:t>
        <a:bodyPr/>
        <a:lstStyle/>
        <a:p>
          <a:endParaRPr lang="en-IN"/>
        </a:p>
      </dgm:t>
    </dgm:pt>
    <dgm:pt modelId="{EB548CE5-CDEF-4D16-967D-60B642931612}" type="pres">
      <dgm:prSet presAssocID="{8F40D44B-1B80-47DE-9399-F07D135DA0F4}" presName="connTx" presStyleLbl="parChTrans1D2" presStyleIdx="5" presStyleCnt="6"/>
      <dgm:spPr/>
      <dgm:t>
        <a:bodyPr/>
        <a:lstStyle/>
        <a:p>
          <a:endParaRPr lang="en-IN"/>
        </a:p>
      </dgm:t>
    </dgm:pt>
    <dgm:pt modelId="{ECE5C85E-EB8C-4CED-A254-18A1B76C6FD7}" type="pres">
      <dgm:prSet presAssocID="{BEAE320C-2E66-4D5B-8B47-B6EE3F782E5B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74BD84D-E980-4A96-9995-BA3AEE35AEF3}" type="presOf" srcId="{E6E3FDDC-5659-4D7A-B738-5D1B0D749651}" destId="{8D962AE1-F818-40DB-854C-707DDBE2B144}" srcOrd="0" destOrd="0" presId="urn:microsoft.com/office/officeart/2005/8/layout/radial1"/>
    <dgm:cxn modelId="{211035A3-681B-4AA6-ABE4-BFFBDD9FD9C6}" type="presOf" srcId="{911B2E90-9CE4-40B2-B6CA-FE4CF82507E2}" destId="{6B800BB7-A143-486C-A386-3C6B8C6965CE}" srcOrd="0" destOrd="0" presId="urn:microsoft.com/office/officeart/2005/8/layout/radial1"/>
    <dgm:cxn modelId="{4D39F709-845D-48DB-BCD6-DEE0544246AA}" srcId="{EDDC1DE3-705C-4F7C-9BB3-BBB6BB8DD2E1}" destId="{911B2E90-9CE4-40B2-B6CA-FE4CF82507E2}" srcOrd="0" destOrd="0" parTransId="{19C4FBC0-B5FE-4EA3-A6F2-5C2B34425AC5}" sibTransId="{5EFD91F4-1204-48CF-BFEB-6085F964AE6D}"/>
    <dgm:cxn modelId="{CB37131B-C273-4041-BCB6-E5AFAF669FE7}" type="presOf" srcId="{5EB21259-E629-4C9D-8714-55E1EE19D5E5}" destId="{37DCB91B-28EC-4CF3-8537-A91C4070485E}" srcOrd="0" destOrd="0" presId="urn:microsoft.com/office/officeart/2005/8/layout/radial1"/>
    <dgm:cxn modelId="{C58C8078-5D31-468A-8A09-0BFBE2F481F5}" srcId="{911B2E90-9CE4-40B2-B6CA-FE4CF82507E2}" destId="{BEAE320C-2E66-4D5B-8B47-B6EE3F782E5B}" srcOrd="5" destOrd="0" parTransId="{8F40D44B-1B80-47DE-9399-F07D135DA0F4}" sibTransId="{EC7DF901-377B-45F9-8008-0B20046E0230}"/>
    <dgm:cxn modelId="{EC3B0BA1-FA94-401F-94C4-EB2BDBD603EF}" type="presOf" srcId="{25560F1D-66E6-4ACF-A182-AD2AFDA5D89C}" destId="{7BD67683-2650-43D7-9907-166AEBF980EF}" srcOrd="1" destOrd="0" presId="urn:microsoft.com/office/officeart/2005/8/layout/radial1"/>
    <dgm:cxn modelId="{1F78DAC9-D601-4A44-8A17-0BB1B35173CC}" srcId="{911B2E90-9CE4-40B2-B6CA-FE4CF82507E2}" destId="{DA45F6E6-9922-429A-8814-F36225B44426}" srcOrd="1" destOrd="0" parTransId="{37F0E33E-3441-4D06-B6A1-62F4EB14D24D}" sibTransId="{112EBB85-27C4-4A97-B46B-3A3D6E2B1B48}"/>
    <dgm:cxn modelId="{D1031CF9-1EAD-4724-AAA5-B6E1DFBA2C1F}" type="presOf" srcId="{ADCEE885-0F84-47F8-894C-4CAC4CDB1E68}" destId="{477C2E0C-BC4E-4890-BE8C-3A0C6DF07910}" srcOrd="1" destOrd="0" presId="urn:microsoft.com/office/officeart/2005/8/layout/radial1"/>
    <dgm:cxn modelId="{A0340B80-FF58-49C9-9A58-323CC39C81E3}" type="presOf" srcId="{8F40D44B-1B80-47DE-9399-F07D135DA0F4}" destId="{EB548CE5-CDEF-4D16-967D-60B642931612}" srcOrd="1" destOrd="0" presId="urn:microsoft.com/office/officeart/2005/8/layout/radial1"/>
    <dgm:cxn modelId="{28B87623-BCAE-4253-9A89-23B44F675C55}" type="presOf" srcId="{37F0E33E-3441-4D06-B6A1-62F4EB14D24D}" destId="{90F9842C-C392-4488-81ED-E95407B1DF93}" srcOrd="1" destOrd="0" presId="urn:microsoft.com/office/officeart/2005/8/layout/radial1"/>
    <dgm:cxn modelId="{9E39065E-5D20-4D90-97BF-29EF1DC6733B}" srcId="{911B2E90-9CE4-40B2-B6CA-FE4CF82507E2}" destId="{3BECBD1D-0FB6-42B5-BF4C-0257F64BDE62}" srcOrd="0" destOrd="0" parTransId="{25560F1D-66E6-4ACF-A182-AD2AFDA5D89C}" sibTransId="{FE5FECE8-8D21-4C01-B23C-F328950C1D9E}"/>
    <dgm:cxn modelId="{BBF1D40B-D38F-492E-8441-E556B2BF5ADF}" type="presOf" srcId="{CF1D5E6A-4E50-4BE8-AD40-D29D0D8CBC73}" destId="{AE3A0D20-A11D-4BB6-965C-DF4270D7F72A}" srcOrd="0" destOrd="0" presId="urn:microsoft.com/office/officeart/2005/8/layout/radial1"/>
    <dgm:cxn modelId="{283AB19B-3B20-4C21-A6B6-606AC12B1720}" type="presOf" srcId="{ADCEE885-0F84-47F8-894C-4CAC4CDB1E68}" destId="{45ADF3D5-4AF2-4817-99F2-2DDE7A10D5C5}" srcOrd="0" destOrd="0" presId="urn:microsoft.com/office/officeart/2005/8/layout/radial1"/>
    <dgm:cxn modelId="{0F303552-90BF-46AF-BB02-8DFCCF0935C3}" type="presOf" srcId="{3BECBD1D-0FB6-42B5-BF4C-0257F64BDE62}" destId="{68BB6312-97E9-4BEB-8E76-A6C4A4781C19}" srcOrd="0" destOrd="0" presId="urn:microsoft.com/office/officeart/2005/8/layout/radial1"/>
    <dgm:cxn modelId="{156B0D04-4AC6-4B14-AC37-A9256B86A14B}" type="presOf" srcId="{6D33F3FC-0E10-4284-A597-77C5975B7BA4}" destId="{30A2B1E5-3F60-4D72-A45D-BE66009897D4}" srcOrd="1" destOrd="0" presId="urn:microsoft.com/office/officeart/2005/8/layout/radial1"/>
    <dgm:cxn modelId="{DEA5C89B-16CA-401F-803B-1CB22C520E0E}" srcId="{911B2E90-9CE4-40B2-B6CA-FE4CF82507E2}" destId="{5EB21259-E629-4C9D-8714-55E1EE19D5E5}" srcOrd="4" destOrd="0" parTransId="{ADCEE885-0F84-47F8-894C-4CAC4CDB1E68}" sibTransId="{96E6B873-3192-4566-9E75-DB5C9CAC03E6}"/>
    <dgm:cxn modelId="{6DF06DF5-5631-48FA-9CBC-B1987316BF1C}" type="presOf" srcId="{EDDC1DE3-705C-4F7C-9BB3-BBB6BB8DD2E1}" destId="{5389E375-B0D4-47A3-B881-B5A524709D75}" srcOrd="0" destOrd="0" presId="urn:microsoft.com/office/officeart/2005/8/layout/radial1"/>
    <dgm:cxn modelId="{CCEC5999-F4FF-469D-AF9B-93BB9EC7F3AB}" type="presOf" srcId="{DA45F6E6-9922-429A-8814-F36225B44426}" destId="{D7AB624B-66F5-416D-AB0E-BA019C5B6CBD}" srcOrd="0" destOrd="0" presId="urn:microsoft.com/office/officeart/2005/8/layout/radial1"/>
    <dgm:cxn modelId="{8EF66B24-D86E-4FBE-AC6F-04155864B64B}" type="presOf" srcId="{25560F1D-66E6-4ACF-A182-AD2AFDA5D89C}" destId="{B01A79C7-6402-4243-BF17-F1E37FCDF7E5}" srcOrd="0" destOrd="0" presId="urn:microsoft.com/office/officeart/2005/8/layout/radial1"/>
    <dgm:cxn modelId="{495F39B4-FF8F-4CE8-B3F7-A7BE92AF7A18}" type="presOf" srcId="{37F0E33E-3441-4D06-B6A1-62F4EB14D24D}" destId="{22382EF4-F490-4A29-9F80-AE8E3ABE0792}" srcOrd="0" destOrd="0" presId="urn:microsoft.com/office/officeart/2005/8/layout/radial1"/>
    <dgm:cxn modelId="{FB602B74-0C19-4960-BE8F-E5A5DA4E683C}" srcId="{911B2E90-9CE4-40B2-B6CA-FE4CF82507E2}" destId="{CF1D5E6A-4E50-4BE8-AD40-D29D0D8CBC73}" srcOrd="3" destOrd="0" parTransId="{E6E3FDDC-5659-4D7A-B738-5D1B0D749651}" sibTransId="{1CF2E2ED-6FD1-4415-9EDB-7802178DAD39}"/>
    <dgm:cxn modelId="{628A77C9-4A50-4D11-B6F3-1B5AEA68BFDD}" srcId="{911B2E90-9CE4-40B2-B6CA-FE4CF82507E2}" destId="{3F052DB4-6AF7-4813-BACE-A2E704DBB37F}" srcOrd="2" destOrd="0" parTransId="{6D33F3FC-0E10-4284-A597-77C5975B7BA4}" sibTransId="{91BE8363-81F0-4BE8-8E4A-B3F51ADC2DB3}"/>
    <dgm:cxn modelId="{1DBEF199-3DD5-4B1D-B120-FC0EE8078678}" type="presOf" srcId="{8F40D44B-1B80-47DE-9399-F07D135DA0F4}" destId="{7F3B3B52-6938-4E90-8DA4-BB41B34017C7}" srcOrd="0" destOrd="0" presId="urn:microsoft.com/office/officeart/2005/8/layout/radial1"/>
    <dgm:cxn modelId="{2FBF4339-CA0B-4BB6-AFD4-79E28D935F68}" type="presOf" srcId="{BEAE320C-2E66-4D5B-8B47-B6EE3F782E5B}" destId="{ECE5C85E-EB8C-4CED-A254-18A1B76C6FD7}" srcOrd="0" destOrd="0" presId="urn:microsoft.com/office/officeart/2005/8/layout/radial1"/>
    <dgm:cxn modelId="{D6BF1A10-5B2D-49D7-BD69-CFC46694D5F9}" type="presOf" srcId="{3F052DB4-6AF7-4813-BACE-A2E704DBB37F}" destId="{2BAE505D-FD5F-40C0-8499-935A83E43698}" srcOrd="0" destOrd="0" presId="urn:microsoft.com/office/officeart/2005/8/layout/radial1"/>
    <dgm:cxn modelId="{9CE077D4-C9A4-4E08-9356-A3E38185EE8D}" type="presOf" srcId="{E6E3FDDC-5659-4D7A-B738-5D1B0D749651}" destId="{9E9C92EB-FBB9-4603-9180-B278A19A409B}" srcOrd="1" destOrd="0" presId="urn:microsoft.com/office/officeart/2005/8/layout/radial1"/>
    <dgm:cxn modelId="{99CB3ECB-32C9-4A99-A49D-63A803DBFA06}" type="presOf" srcId="{6D33F3FC-0E10-4284-A597-77C5975B7BA4}" destId="{A24CD9B4-4974-4F41-A804-40311BEEF9D8}" srcOrd="0" destOrd="0" presId="urn:microsoft.com/office/officeart/2005/8/layout/radial1"/>
    <dgm:cxn modelId="{BB7D2C6A-C15A-4A5E-BB62-08C793F81846}" type="presParOf" srcId="{5389E375-B0D4-47A3-B881-B5A524709D75}" destId="{6B800BB7-A143-486C-A386-3C6B8C6965CE}" srcOrd="0" destOrd="0" presId="urn:microsoft.com/office/officeart/2005/8/layout/radial1"/>
    <dgm:cxn modelId="{28BBDEED-822A-4A77-9E24-EB957E382A5D}" type="presParOf" srcId="{5389E375-B0D4-47A3-B881-B5A524709D75}" destId="{B01A79C7-6402-4243-BF17-F1E37FCDF7E5}" srcOrd="1" destOrd="0" presId="urn:microsoft.com/office/officeart/2005/8/layout/radial1"/>
    <dgm:cxn modelId="{ECDF7EEC-ABDE-4085-A444-43F15DAE19E4}" type="presParOf" srcId="{B01A79C7-6402-4243-BF17-F1E37FCDF7E5}" destId="{7BD67683-2650-43D7-9907-166AEBF980EF}" srcOrd="0" destOrd="0" presId="urn:microsoft.com/office/officeart/2005/8/layout/radial1"/>
    <dgm:cxn modelId="{A776FA72-6292-418E-BCDD-4EDC51CBE81F}" type="presParOf" srcId="{5389E375-B0D4-47A3-B881-B5A524709D75}" destId="{68BB6312-97E9-4BEB-8E76-A6C4A4781C19}" srcOrd="2" destOrd="0" presId="urn:microsoft.com/office/officeart/2005/8/layout/radial1"/>
    <dgm:cxn modelId="{E8EBAD31-15FD-46CE-A635-DD6C03F700FB}" type="presParOf" srcId="{5389E375-B0D4-47A3-B881-B5A524709D75}" destId="{22382EF4-F490-4A29-9F80-AE8E3ABE0792}" srcOrd="3" destOrd="0" presId="urn:microsoft.com/office/officeart/2005/8/layout/radial1"/>
    <dgm:cxn modelId="{AFAA90FD-495C-488F-849B-7D81B843E922}" type="presParOf" srcId="{22382EF4-F490-4A29-9F80-AE8E3ABE0792}" destId="{90F9842C-C392-4488-81ED-E95407B1DF93}" srcOrd="0" destOrd="0" presId="urn:microsoft.com/office/officeart/2005/8/layout/radial1"/>
    <dgm:cxn modelId="{037AA136-A90F-4BC1-9CAB-0533710E5ECD}" type="presParOf" srcId="{5389E375-B0D4-47A3-B881-B5A524709D75}" destId="{D7AB624B-66F5-416D-AB0E-BA019C5B6CBD}" srcOrd="4" destOrd="0" presId="urn:microsoft.com/office/officeart/2005/8/layout/radial1"/>
    <dgm:cxn modelId="{E4E9D317-7670-4E29-AD16-3E791A85CFA6}" type="presParOf" srcId="{5389E375-B0D4-47A3-B881-B5A524709D75}" destId="{A24CD9B4-4974-4F41-A804-40311BEEF9D8}" srcOrd="5" destOrd="0" presId="urn:microsoft.com/office/officeart/2005/8/layout/radial1"/>
    <dgm:cxn modelId="{FBEFD533-9BE0-496F-AD97-DC89C0F28488}" type="presParOf" srcId="{A24CD9B4-4974-4F41-A804-40311BEEF9D8}" destId="{30A2B1E5-3F60-4D72-A45D-BE66009897D4}" srcOrd="0" destOrd="0" presId="urn:microsoft.com/office/officeart/2005/8/layout/radial1"/>
    <dgm:cxn modelId="{A505F767-05D5-4B5D-AF68-3B732F100BE2}" type="presParOf" srcId="{5389E375-B0D4-47A3-B881-B5A524709D75}" destId="{2BAE505D-FD5F-40C0-8499-935A83E43698}" srcOrd="6" destOrd="0" presId="urn:microsoft.com/office/officeart/2005/8/layout/radial1"/>
    <dgm:cxn modelId="{0437338D-E3A9-4AD7-8BE9-22DABD95C46A}" type="presParOf" srcId="{5389E375-B0D4-47A3-B881-B5A524709D75}" destId="{8D962AE1-F818-40DB-854C-707DDBE2B144}" srcOrd="7" destOrd="0" presId="urn:microsoft.com/office/officeart/2005/8/layout/radial1"/>
    <dgm:cxn modelId="{63FB4327-A6B4-431A-8CBB-32724226C02A}" type="presParOf" srcId="{8D962AE1-F818-40DB-854C-707DDBE2B144}" destId="{9E9C92EB-FBB9-4603-9180-B278A19A409B}" srcOrd="0" destOrd="0" presId="urn:microsoft.com/office/officeart/2005/8/layout/radial1"/>
    <dgm:cxn modelId="{BE94B31A-D468-4230-8D9C-B546658B6D41}" type="presParOf" srcId="{5389E375-B0D4-47A3-B881-B5A524709D75}" destId="{AE3A0D20-A11D-4BB6-965C-DF4270D7F72A}" srcOrd="8" destOrd="0" presId="urn:microsoft.com/office/officeart/2005/8/layout/radial1"/>
    <dgm:cxn modelId="{D451E23E-7BCA-4B92-BCB6-388E25208F35}" type="presParOf" srcId="{5389E375-B0D4-47A3-B881-B5A524709D75}" destId="{45ADF3D5-4AF2-4817-99F2-2DDE7A10D5C5}" srcOrd="9" destOrd="0" presId="urn:microsoft.com/office/officeart/2005/8/layout/radial1"/>
    <dgm:cxn modelId="{B701F0D1-4DD2-4F06-8505-E8600E037B02}" type="presParOf" srcId="{45ADF3D5-4AF2-4817-99F2-2DDE7A10D5C5}" destId="{477C2E0C-BC4E-4890-BE8C-3A0C6DF07910}" srcOrd="0" destOrd="0" presId="urn:microsoft.com/office/officeart/2005/8/layout/radial1"/>
    <dgm:cxn modelId="{49D56D26-BE9C-4EED-8BC5-FC2317AF9A09}" type="presParOf" srcId="{5389E375-B0D4-47A3-B881-B5A524709D75}" destId="{37DCB91B-28EC-4CF3-8537-A91C4070485E}" srcOrd="10" destOrd="0" presId="urn:microsoft.com/office/officeart/2005/8/layout/radial1"/>
    <dgm:cxn modelId="{75CEA0CD-7D5D-489F-B397-D541E08D070A}" type="presParOf" srcId="{5389E375-B0D4-47A3-B881-B5A524709D75}" destId="{7F3B3B52-6938-4E90-8DA4-BB41B34017C7}" srcOrd="11" destOrd="0" presId="urn:microsoft.com/office/officeart/2005/8/layout/radial1"/>
    <dgm:cxn modelId="{B9543F6C-AB5E-4996-BCF9-CCD4897E035B}" type="presParOf" srcId="{7F3B3B52-6938-4E90-8DA4-BB41B34017C7}" destId="{EB548CE5-CDEF-4D16-967D-60B642931612}" srcOrd="0" destOrd="0" presId="urn:microsoft.com/office/officeart/2005/8/layout/radial1"/>
    <dgm:cxn modelId="{DBCF49E8-A192-4D49-98F3-F9A9143D7D17}" type="presParOf" srcId="{5389E375-B0D4-47A3-B881-B5A524709D75}" destId="{ECE5C85E-EB8C-4CED-A254-18A1B76C6FD7}" srcOrd="12" destOrd="0" presId="urn:microsoft.com/office/officeart/2005/8/layout/radial1"/>
  </dgm:cxnLst>
  <dgm:bg>
    <a:noFill/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AA9A892-0A62-459D-B467-3B6E407461A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F552CE68-145E-4E5D-A58C-708FDD199C48}">
      <dgm:prSet phldrT="[Text]" custT="1"/>
      <dgm:spPr/>
      <dgm:t>
        <a:bodyPr/>
        <a:lstStyle/>
        <a:p>
          <a:r>
            <a:rPr lang="en-IN" sz="1800" b="1" dirty="0" smtClean="0">
              <a:solidFill>
                <a:schemeClr val="bg1"/>
              </a:solidFill>
              <a:latin typeface="Arial"/>
            </a:rPr>
            <a:t>Overview: </a:t>
          </a:r>
          <a:endParaRPr lang="en-IN" sz="1800" dirty="0">
            <a:solidFill>
              <a:schemeClr val="bg1"/>
            </a:solidFill>
          </a:endParaRPr>
        </a:p>
      </dgm:t>
    </dgm:pt>
    <dgm:pt modelId="{2700F8DB-E9DA-41B2-A77B-145DA65F7400}" type="parTrans" cxnId="{0CEFDCCA-6C7C-476A-890F-6A792AE6C22C}">
      <dgm:prSet/>
      <dgm:spPr/>
      <dgm:t>
        <a:bodyPr/>
        <a:lstStyle/>
        <a:p>
          <a:endParaRPr lang="en-IN"/>
        </a:p>
      </dgm:t>
    </dgm:pt>
    <dgm:pt modelId="{47D2BEF8-2812-419F-A1CF-5401FF600F5E}" type="sibTrans" cxnId="{0CEFDCCA-6C7C-476A-890F-6A792AE6C22C}">
      <dgm:prSet/>
      <dgm:spPr/>
      <dgm:t>
        <a:bodyPr/>
        <a:lstStyle/>
        <a:p>
          <a:endParaRPr lang="en-IN"/>
        </a:p>
      </dgm:t>
    </dgm:pt>
    <dgm:pt modelId="{DD3BCFB0-BCF6-485B-9CE2-574CC126ADE8}">
      <dgm:prSet phldrT="[Text]" custT="1"/>
      <dgm:spPr/>
      <dgm:t>
        <a:bodyPr/>
        <a:lstStyle/>
        <a:p>
          <a:r>
            <a:rPr lang="en-IN" sz="1800" dirty="0" smtClean="0">
              <a:solidFill>
                <a:srgbClr val="002060"/>
              </a:solidFill>
              <a:latin typeface="Arial"/>
            </a:rPr>
            <a:t>This contains the description of Systems and the Integration between them.</a:t>
          </a:r>
          <a:endParaRPr lang="en-IN" sz="1800" dirty="0">
            <a:solidFill>
              <a:srgbClr val="002060"/>
            </a:solidFill>
          </a:endParaRPr>
        </a:p>
      </dgm:t>
    </dgm:pt>
    <dgm:pt modelId="{7B3282DA-3D44-47D9-9147-4D186BB048C1}" type="parTrans" cxnId="{254BC817-6EE2-408F-B88E-196A85EE846D}">
      <dgm:prSet/>
      <dgm:spPr/>
      <dgm:t>
        <a:bodyPr/>
        <a:lstStyle/>
        <a:p>
          <a:endParaRPr lang="en-IN"/>
        </a:p>
      </dgm:t>
    </dgm:pt>
    <dgm:pt modelId="{1A889612-FA25-4C68-80BB-B4DF1C8BD164}" type="sibTrans" cxnId="{254BC817-6EE2-408F-B88E-196A85EE846D}">
      <dgm:prSet/>
      <dgm:spPr/>
      <dgm:t>
        <a:bodyPr/>
        <a:lstStyle/>
        <a:p>
          <a:endParaRPr lang="en-IN"/>
        </a:p>
      </dgm:t>
    </dgm:pt>
    <dgm:pt modelId="{9A3F2A7E-8C25-4E98-B380-8B4B3275BC1B}">
      <dgm:prSet phldrT="[Text]" custT="1"/>
      <dgm:spPr/>
      <dgm:t>
        <a:bodyPr/>
        <a:lstStyle/>
        <a:p>
          <a:r>
            <a:rPr lang="en-IN" sz="1800" b="1" dirty="0" smtClean="0">
              <a:solidFill>
                <a:schemeClr val="bg1"/>
              </a:solidFill>
              <a:latin typeface="Arial"/>
            </a:rPr>
            <a:t>Artifacts:</a:t>
          </a:r>
          <a:endParaRPr lang="en-IN" sz="1800" dirty="0">
            <a:solidFill>
              <a:schemeClr val="bg1"/>
            </a:solidFill>
          </a:endParaRPr>
        </a:p>
      </dgm:t>
    </dgm:pt>
    <dgm:pt modelId="{769D1B80-4C25-4A14-8D23-F798AFE578C2}" type="parTrans" cxnId="{125D8AC2-0465-4156-8E83-A302BDA2F95E}">
      <dgm:prSet/>
      <dgm:spPr/>
      <dgm:t>
        <a:bodyPr/>
        <a:lstStyle/>
        <a:p>
          <a:endParaRPr lang="en-IN"/>
        </a:p>
      </dgm:t>
    </dgm:pt>
    <dgm:pt modelId="{F6CAE2F2-3F8B-4F5D-A2C0-AD94611405AA}" type="sibTrans" cxnId="{125D8AC2-0465-4156-8E83-A302BDA2F95E}">
      <dgm:prSet/>
      <dgm:spPr/>
      <dgm:t>
        <a:bodyPr/>
        <a:lstStyle/>
        <a:p>
          <a:endParaRPr lang="en-IN"/>
        </a:p>
      </dgm:t>
    </dgm:pt>
    <dgm:pt modelId="{D420FC9D-7B78-4AD0-B8CC-5D0B37D2E814}">
      <dgm:prSet phldrT="[Text]" custT="1"/>
      <dgm:spPr/>
      <dgm:t>
        <a:bodyPr/>
        <a:lstStyle/>
        <a:p>
          <a:r>
            <a:rPr lang="en-IN" sz="1800" dirty="0" smtClean="0">
              <a:solidFill>
                <a:srgbClr val="002060"/>
              </a:solidFill>
              <a:latin typeface="Arial"/>
            </a:rPr>
            <a:t>Integration flows for various business process are added within Artifacts.</a:t>
          </a:r>
          <a:endParaRPr lang="en-IN" sz="1800" dirty="0">
            <a:solidFill>
              <a:srgbClr val="002060"/>
            </a:solidFill>
          </a:endParaRPr>
        </a:p>
      </dgm:t>
    </dgm:pt>
    <dgm:pt modelId="{F377CA27-3B36-4C4E-A6FD-438C18624D62}" type="parTrans" cxnId="{81429AFC-4B54-4063-9784-5AE99E04F131}">
      <dgm:prSet/>
      <dgm:spPr/>
      <dgm:t>
        <a:bodyPr/>
        <a:lstStyle/>
        <a:p>
          <a:endParaRPr lang="en-IN"/>
        </a:p>
      </dgm:t>
    </dgm:pt>
    <dgm:pt modelId="{B504FAEE-384B-42FC-A893-2A20FB1B2FFC}" type="sibTrans" cxnId="{81429AFC-4B54-4063-9784-5AE99E04F131}">
      <dgm:prSet/>
      <dgm:spPr/>
      <dgm:t>
        <a:bodyPr/>
        <a:lstStyle/>
        <a:p>
          <a:endParaRPr lang="en-IN"/>
        </a:p>
      </dgm:t>
    </dgm:pt>
    <dgm:pt modelId="{285197F0-3E3F-4A65-865B-F04B513DE9A9}">
      <dgm:prSet custT="1"/>
      <dgm:spPr/>
      <dgm:t>
        <a:bodyPr/>
        <a:lstStyle/>
        <a:p>
          <a:r>
            <a:rPr lang="en-IN" sz="1800" dirty="0" smtClean="0">
              <a:solidFill>
                <a:srgbClr val="002060"/>
              </a:solidFill>
              <a:latin typeface="Arial"/>
            </a:rPr>
            <a:t>Other information's are available within overview are Integration flow, Package ID, Category and Created date.</a:t>
          </a:r>
        </a:p>
      </dgm:t>
    </dgm:pt>
    <dgm:pt modelId="{B34AFF1F-FB8A-48AF-9B2C-DBE31C54B2C6}" type="parTrans" cxnId="{77F7EB15-807F-437D-86E2-F893421839D2}">
      <dgm:prSet/>
      <dgm:spPr/>
      <dgm:t>
        <a:bodyPr/>
        <a:lstStyle/>
        <a:p>
          <a:endParaRPr lang="en-IN"/>
        </a:p>
      </dgm:t>
    </dgm:pt>
    <dgm:pt modelId="{E517F39D-0245-44EB-BDE9-193E046D1360}" type="sibTrans" cxnId="{77F7EB15-807F-437D-86E2-F893421839D2}">
      <dgm:prSet/>
      <dgm:spPr/>
      <dgm:t>
        <a:bodyPr/>
        <a:lstStyle/>
        <a:p>
          <a:endParaRPr lang="en-IN"/>
        </a:p>
      </dgm:t>
    </dgm:pt>
    <dgm:pt modelId="{930015BE-B3F9-4818-B0BB-22F495BBB30A}">
      <dgm:prSet custT="1"/>
      <dgm:spPr/>
      <dgm:t>
        <a:bodyPr/>
        <a:lstStyle/>
        <a:p>
          <a:r>
            <a:rPr lang="en-IN" sz="1800" dirty="0" smtClean="0">
              <a:solidFill>
                <a:srgbClr val="002060"/>
              </a:solidFill>
              <a:latin typeface="Arial"/>
            </a:rPr>
            <a:t>Other components available under artifacts are OData Service, Value Mapping and Data integration.</a:t>
          </a:r>
        </a:p>
      </dgm:t>
    </dgm:pt>
    <dgm:pt modelId="{FC2D78D1-6068-47B4-A8B8-A4E8E7961841}" type="parTrans" cxnId="{45A4B0D3-3394-4440-B9CD-8211C0B35414}">
      <dgm:prSet/>
      <dgm:spPr/>
      <dgm:t>
        <a:bodyPr/>
        <a:lstStyle/>
        <a:p>
          <a:endParaRPr lang="en-IN"/>
        </a:p>
      </dgm:t>
    </dgm:pt>
    <dgm:pt modelId="{ADD023AB-80A9-43EA-A7B8-56E7EDC9637A}" type="sibTrans" cxnId="{45A4B0D3-3394-4440-B9CD-8211C0B35414}">
      <dgm:prSet/>
      <dgm:spPr/>
      <dgm:t>
        <a:bodyPr/>
        <a:lstStyle/>
        <a:p>
          <a:endParaRPr lang="en-IN"/>
        </a:p>
      </dgm:t>
    </dgm:pt>
    <dgm:pt modelId="{A5C2A017-14CA-4365-8110-6F7E32FF3AEC}">
      <dgm:prSet custT="1"/>
      <dgm:spPr/>
      <dgm:t>
        <a:bodyPr/>
        <a:lstStyle/>
        <a:p>
          <a:r>
            <a:rPr lang="en-IN" sz="1800" dirty="0" smtClean="0">
              <a:solidFill>
                <a:srgbClr val="002060"/>
              </a:solidFill>
              <a:latin typeface="Arial"/>
            </a:rPr>
            <a:t>We can view the steps within the Integration flow from Artifacts</a:t>
          </a:r>
        </a:p>
      </dgm:t>
    </dgm:pt>
    <dgm:pt modelId="{39D3B629-F28E-488F-A63E-E2576F9BBC6C}" type="parTrans" cxnId="{192E3731-0D72-417A-B8C3-4993F74213CC}">
      <dgm:prSet/>
      <dgm:spPr/>
      <dgm:t>
        <a:bodyPr/>
        <a:lstStyle/>
        <a:p>
          <a:endParaRPr lang="en-IN"/>
        </a:p>
      </dgm:t>
    </dgm:pt>
    <dgm:pt modelId="{3C51AB37-0E41-4822-AE0F-B2EE8CDC9751}" type="sibTrans" cxnId="{192E3731-0D72-417A-B8C3-4993F74213CC}">
      <dgm:prSet/>
      <dgm:spPr/>
      <dgm:t>
        <a:bodyPr/>
        <a:lstStyle/>
        <a:p>
          <a:endParaRPr lang="en-IN"/>
        </a:p>
      </dgm:t>
    </dgm:pt>
    <dgm:pt modelId="{B726A715-19AF-4F72-90A0-297197F0F993}" type="pres">
      <dgm:prSet presAssocID="{3AA9A892-0A62-459D-B467-3B6E407461A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1A9526C-E658-4802-9013-AF498F12A448}" type="pres">
      <dgm:prSet presAssocID="{F552CE68-145E-4E5D-A58C-708FDD199C48}" presName="parentText" presStyleLbl="node1" presStyleIdx="0" presStyleCnt="2" custScaleX="32823" custScaleY="48807" custLinFactNeighborX="-32361" custLinFactNeighborY="-34634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A3B25F7B-9758-4B90-A6F0-0D7D0F67E36B}" type="pres">
      <dgm:prSet presAssocID="{F552CE68-145E-4E5D-A58C-708FDD199C48}" presName="childText" presStyleLbl="revTx" presStyleIdx="0" presStyleCnt="2" custLinFactNeighborX="773" custLinFactNeighborY="-3222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7E403407-4C34-4231-9794-9454C6EE0B7F}" type="pres">
      <dgm:prSet presAssocID="{9A3F2A7E-8C25-4E98-B380-8B4B3275BC1B}" presName="parentText" presStyleLbl="node1" presStyleIdx="1" presStyleCnt="2" custScaleX="33067" custScaleY="47337" custLinFactNeighborX="-37977" custLinFactNeighborY="169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9E522435-30F3-48FD-B96A-D6E948371FDE}" type="pres">
      <dgm:prSet presAssocID="{9A3F2A7E-8C25-4E98-B380-8B4B3275BC1B}" presName="childText" presStyleLbl="revTx" presStyleIdx="1" presStyleCnt="2" custLinFactNeighborY="2416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BBBBDC16-6471-4E3E-BE4B-96870A34A86B}" type="presOf" srcId="{A5C2A017-14CA-4365-8110-6F7E32FF3AEC}" destId="{9E522435-30F3-48FD-B96A-D6E948371FDE}" srcOrd="0" destOrd="2" presId="urn:microsoft.com/office/officeart/2005/8/layout/vList2"/>
    <dgm:cxn modelId="{81429AFC-4B54-4063-9784-5AE99E04F131}" srcId="{9A3F2A7E-8C25-4E98-B380-8B4B3275BC1B}" destId="{D420FC9D-7B78-4AD0-B8CC-5D0B37D2E814}" srcOrd="0" destOrd="0" parTransId="{F377CA27-3B36-4C4E-A6FD-438C18624D62}" sibTransId="{B504FAEE-384B-42FC-A893-2A20FB1B2FFC}"/>
    <dgm:cxn modelId="{FCE651AD-FF51-424D-BED2-17C8D8CB97D8}" type="presOf" srcId="{F552CE68-145E-4E5D-A58C-708FDD199C48}" destId="{11A9526C-E658-4802-9013-AF498F12A448}" srcOrd="0" destOrd="0" presId="urn:microsoft.com/office/officeart/2005/8/layout/vList2"/>
    <dgm:cxn modelId="{E42C171A-605D-4320-A391-916B62C26DD3}" type="presOf" srcId="{DD3BCFB0-BCF6-485B-9CE2-574CC126ADE8}" destId="{A3B25F7B-9758-4B90-A6F0-0D7D0F67E36B}" srcOrd="0" destOrd="0" presId="urn:microsoft.com/office/officeart/2005/8/layout/vList2"/>
    <dgm:cxn modelId="{9AB4C1AE-2E58-4D49-A2AB-952643B63188}" type="presOf" srcId="{3AA9A892-0A62-459D-B467-3B6E407461A9}" destId="{B726A715-19AF-4F72-90A0-297197F0F993}" srcOrd="0" destOrd="0" presId="urn:microsoft.com/office/officeart/2005/8/layout/vList2"/>
    <dgm:cxn modelId="{192E3731-0D72-417A-B8C3-4993F74213CC}" srcId="{9A3F2A7E-8C25-4E98-B380-8B4B3275BC1B}" destId="{A5C2A017-14CA-4365-8110-6F7E32FF3AEC}" srcOrd="2" destOrd="0" parTransId="{39D3B629-F28E-488F-A63E-E2576F9BBC6C}" sibTransId="{3C51AB37-0E41-4822-AE0F-B2EE8CDC9751}"/>
    <dgm:cxn modelId="{0FCB8468-985A-4045-BE55-E07537F03D08}" type="presOf" srcId="{930015BE-B3F9-4818-B0BB-22F495BBB30A}" destId="{9E522435-30F3-48FD-B96A-D6E948371FDE}" srcOrd="0" destOrd="1" presId="urn:microsoft.com/office/officeart/2005/8/layout/vList2"/>
    <dgm:cxn modelId="{77F7EB15-807F-437D-86E2-F893421839D2}" srcId="{F552CE68-145E-4E5D-A58C-708FDD199C48}" destId="{285197F0-3E3F-4A65-865B-F04B513DE9A9}" srcOrd="1" destOrd="0" parTransId="{B34AFF1F-FB8A-48AF-9B2C-DBE31C54B2C6}" sibTransId="{E517F39D-0245-44EB-BDE9-193E046D1360}"/>
    <dgm:cxn modelId="{0CEFDCCA-6C7C-476A-890F-6A792AE6C22C}" srcId="{3AA9A892-0A62-459D-B467-3B6E407461A9}" destId="{F552CE68-145E-4E5D-A58C-708FDD199C48}" srcOrd="0" destOrd="0" parTransId="{2700F8DB-E9DA-41B2-A77B-145DA65F7400}" sibTransId="{47D2BEF8-2812-419F-A1CF-5401FF600F5E}"/>
    <dgm:cxn modelId="{254BC817-6EE2-408F-B88E-196A85EE846D}" srcId="{F552CE68-145E-4E5D-A58C-708FDD199C48}" destId="{DD3BCFB0-BCF6-485B-9CE2-574CC126ADE8}" srcOrd="0" destOrd="0" parTransId="{7B3282DA-3D44-47D9-9147-4D186BB048C1}" sibTransId="{1A889612-FA25-4C68-80BB-B4DF1C8BD164}"/>
    <dgm:cxn modelId="{2FA6D466-B1A9-4A5F-A3AE-62A087052282}" type="presOf" srcId="{9A3F2A7E-8C25-4E98-B380-8B4B3275BC1B}" destId="{7E403407-4C34-4231-9794-9454C6EE0B7F}" srcOrd="0" destOrd="0" presId="urn:microsoft.com/office/officeart/2005/8/layout/vList2"/>
    <dgm:cxn modelId="{125D8AC2-0465-4156-8E83-A302BDA2F95E}" srcId="{3AA9A892-0A62-459D-B467-3B6E407461A9}" destId="{9A3F2A7E-8C25-4E98-B380-8B4B3275BC1B}" srcOrd="1" destOrd="0" parTransId="{769D1B80-4C25-4A14-8D23-F798AFE578C2}" sibTransId="{F6CAE2F2-3F8B-4F5D-A2C0-AD94611405AA}"/>
    <dgm:cxn modelId="{2BCA6F3A-D570-4969-B1E7-11A2DAFC5603}" type="presOf" srcId="{285197F0-3E3F-4A65-865B-F04B513DE9A9}" destId="{A3B25F7B-9758-4B90-A6F0-0D7D0F67E36B}" srcOrd="0" destOrd="1" presId="urn:microsoft.com/office/officeart/2005/8/layout/vList2"/>
    <dgm:cxn modelId="{45A4B0D3-3394-4440-B9CD-8211C0B35414}" srcId="{9A3F2A7E-8C25-4E98-B380-8B4B3275BC1B}" destId="{930015BE-B3F9-4818-B0BB-22F495BBB30A}" srcOrd="1" destOrd="0" parTransId="{FC2D78D1-6068-47B4-A8B8-A4E8E7961841}" sibTransId="{ADD023AB-80A9-43EA-A7B8-56E7EDC9637A}"/>
    <dgm:cxn modelId="{3F0950BD-DA18-497C-B37E-B07CBC3649E3}" type="presOf" srcId="{D420FC9D-7B78-4AD0-B8CC-5D0B37D2E814}" destId="{9E522435-30F3-48FD-B96A-D6E948371FDE}" srcOrd="0" destOrd="0" presId="urn:microsoft.com/office/officeart/2005/8/layout/vList2"/>
    <dgm:cxn modelId="{21DFEFB9-9649-4D24-9911-B12EA67E02CC}" type="presParOf" srcId="{B726A715-19AF-4F72-90A0-297197F0F993}" destId="{11A9526C-E658-4802-9013-AF498F12A448}" srcOrd="0" destOrd="0" presId="urn:microsoft.com/office/officeart/2005/8/layout/vList2"/>
    <dgm:cxn modelId="{398DF9E3-9E8A-4ADB-8DAD-C084DDB9462F}" type="presParOf" srcId="{B726A715-19AF-4F72-90A0-297197F0F993}" destId="{A3B25F7B-9758-4B90-A6F0-0D7D0F67E36B}" srcOrd="1" destOrd="0" presId="urn:microsoft.com/office/officeart/2005/8/layout/vList2"/>
    <dgm:cxn modelId="{EFD9893F-2896-4BF4-8EEB-BF11CD999401}" type="presParOf" srcId="{B726A715-19AF-4F72-90A0-297197F0F993}" destId="{7E403407-4C34-4231-9794-9454C6EE0B7F}" srcOrd="2" destOrd="0" presId="urn:microsoft.com/office/officeart/2005/8/layout/vList2"/>
    <dgm:cxn modelId="{77B391A0-9856-4765-9B13-5186650D39F0}" type="presParOf" srcId="{B726A715-19AF-4F72-90A0-297197F0F993}" destId="{9E522435-30F3-48FD-B96A-D6E948371FDE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800BB7-A143-486C-A386-3C6B8C6965CE}">
      <dsp:nvSpPr>
        <dsp:cNvPr id="0" name=""/>
        <dsp:cNvSpPr/>
      </dsp:nvSpPr>
      <dsp:spPr>
        <a:xfrm>
          <a:off x="1988880" y="1150645"/>
          <a:ext cx="882892" cy="88289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000" b="1" kern="1200" dirty="0" smtClean="0"/>
            <a:t>Streams</a:t>
          </a:r>
          <a:endParaRPr lang="en-IN" sz="1000" b="1" kern="1200" dirty="0"/>
        </a:p>
      </dsp:txBody>
      <dsp:txXfrm>
        <a:off x="2118177" y="1279942"/>
        <a:ext cx="624298" cy="624298"/>
      </dsp:txXfrm>
    </dsp:sp>
    <dsp:sp modelId="{B01A79C7-6402-4243-BF17-F1E37FCDF7E5}">
      <dsp:nvSpPr>
        <dsp:cNvPr id="0" name=""/>
        <dsp:cNvSpPr/>
      </dsp:nvSpPr>
      <dsp:spPr>
        <a:xfrm rot="16200000">
          <a:off x="2297308" y="1001280"/>
          <a:ext cx="266035" cy="32695"/>
        </a:xfrm>
        <a:custGeom>
          <a:avLst/>
          <a:gdLst/>
          <a:ahLst/>
          <a:cxnLst/>
          <a:rect l="0" t="0" r="0" b="0"/>
          <a:pathLst>
            <a:path>
              <a:moveTo>
                <a:pt x="0" y="16347"/>
              </a:moveTo>
              <a:lnTo>
                <a:pt x="266035" y="1634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500" kern="1200"/>
        </a:p>
      </dsp:txBody>
      <dsp:txXfrm>
        <a:off x="2423675" y="1010977"/>
        <a:ext cx="13301" cy="13301"/>
      </dsp:txXfrm>
    </dsp:sp>
    <dsp:sp modelId="{68BB6312-97E9-4BEB-8E76-A6C4A4781C19}">
      <dsp:nvSpPr>
        <dsp:cNvPr id="0" name=""/>
        <dsp:cNvSpPr/>
      </dsp:nvSpPr>
      <dsp:spPr>
        <a:xfrm>
          <a:off x="1988880" y="1718"/>
          <a:ext cx="882892" cy="88289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800" b="1" kern="1200" dirty="0" smtClean="0"/>
            <a:t>Vendor</a:t>
          </a:r>
          <a:endParaRPr lang="en-IN" sz="800" b="1" kern="1200" dirty="0"/>
        </a:p>
      </dsp:txBody>
      <dsp:txXfrm>
        <a:off x="2118177" y="131015"/>
        <a:ext cx="624298" cy="624298"/>
      </dsp:txXfrm>
    </dsp:sp>
    <dsp:sp modelId="{22382EF4-F490-4A29-9F80-AE8E3ABE0792}">
      <dsp:nvSpPr>
        <dsp:cNvPr id="0" name=""/>
        <dsp:cNvSpPr/>
      </dsp:nvSpPr>
      <dsp:spPr>
        <a:xfrm rot="19800000">
          <a:off x="2794808" y="1288512"/>
          <a:ext cx="266035" cy="32695"/>
        </a:xfrm>
        <a:custGeom>
          <a:avLst/>
          <a:gdLst/>
          <a:ahLst/>
          <a:cxnLst/>
          <a:rect l="0" t="0" r="0" b="0"/>
          <a:pathLst>
            <a:path>
              <a:moveTo>
                <a:pt x="0" y="16347"/>
              </a:moveTo>
              <a:lnTo>
                <a:pt x="266035" y="1634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500" kern="1200"/>
        </a:p>
      </dsp:txBody>
      <dsp:txXfrm>
        <a:off x="2921175" y="1298209"/>
        <a:ext cx="13301" cy="13301"/>
      </dsp:txXfrm>
    </dsp:sp>
    <dsp:sp modelId="{D7AB624B-66F5-416D-AB0E-BA019C5B6CBD}">
      <dsp:nvSpPr>
        <dsp:cNvPr id="0" name=""/>
        <dsp:cNvSpPr/>
      </dsp:nvSpPr>
      <dsp:spPr>
        <a:xfrm>
          <a:off x="2983881" y="576182"/>
          <a:ext cx="882892" cy="88289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800" b="1" kern="1200" dirty="0" smtClean="0"/>
            <a:t>Supported Platforms</a:t>
          </a:r>
          <a:endParaRPr lang="en-IN" sz="800" b="1" kern="1200" dirty="0"/>
        </a:p>
      </dsp:txBody>
      <dsp:txXfrm>
        <a:off x="3113178" y="705479"/>
        <a:ext cx="624298" cy="624298"/>
      </dsp:txXfrm>
    </dsp:sp>
    <dsp:sp modelId="{A24CD9B4-4974-4F41-A804-40311BEEF9D8}">
      <dsp:nvSpPr>
        <dsp:cNvPr id="0" name=""/>
        <dsp:cNvSpPr/>
      </dsp:nvSpPr>
      <dsp:spPr>
        <a:xfrm rot="1800000">
          <a:off x="2794808" y="1862976"/>
          <a:ext cx="266035" cy="32695"/>
        </a:xfrm>
        <a:custGeom>
          <a:avLst/>
          <a:gdLst/>
          <a:ahLst/>
          <a:cxnLst/>
          <a:rect l="0" t="0" r="0" b="0"/>
          <a:pathLst>
            <a:path>
              <a:moveTo>
                <a:pt x="0" y="16347"/>
              </a:moveTo>
              <a:lnTo>
                <a:pt x="266035" y="1634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500" kern="1200"/>
        </a:p>
      </dsp:txBody>
      <dsp:txXfrm>
        <a:off x="2921175" y="1872673"/>
        <a:ext cx="13301" cy="13301"/>
      </dsp:txXfrm>
    </dsp:sp>
    <dsp:sp modelId="{2BAE505D-FD5F-40C0-8499-935A83E43698}">
      <dsp:nvSpPr>
        <dsp:cNvPr id="0" name=""/>
        <dsp:cNvSpPr/>
      </dsp:nvSpPr>
      <dsp:spPr>
        <a:xfrm>
          <a:off x="2983881" y="1725109"/>
          <a:ext cx="882892" cy="88289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800" b="1" kern="1200" dirty="0" smtClean="0"/>
            <a:t>Line of Business</a:t>
          </a:r>
          <a:endParaRPr lang="en-IN" sz="800" b="1" kern="1200" dirty="0"/>
        </a:p>
      </dsp:txBody>
      <dsp:txXfrm>
        <a:off x="3113178" y="1854406"/>
        <a:ext cx="624298" cy="624298"/>
      </dsp:txXfrm>
    </dsp:sp>
    <dsp:sp modelId="{8D962AE1-F818-40DB-854C-707DDBE2B144}">
      <dsp:nvSpPr>
        <dsp:cNvPr id="0" name=""/>
        <dsp:cNvSpPr/>
      </dsp:nvSpPr>
      <dsp:spPr>
        <a:xfrm rot="5400000">
          <a:off x="2297308" y="2150208"/>
          <a:ext cx="266035" cy="32695"/>
        </a:xfrm>
        <a:custGeom>
          <a:avLst/>
          <a:gdLst/>
          <a:ahLst/>
          <a:cxnLst/>
          <a:rect l="0" t="0" r="0" b="0"/>
          <a:pathLst>
            <a:path>
              <a:moveTo>
                <a:pt x="0" y="16347"/>
              </a:moveTo>
              <a:lnTo>
                <a:pt x="266035" y="1634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500" kern="1200"/>
        </a:p>
      </dsp:txBody>
      <dsp:txXfrm>
        <a:off x="2423675" y="2159905"/>
        <a:ext cx="13301" cy="13301"/>
      </dsp:txXfrm>
    </dsp:sp>
    <dsp:sp modelId="{AE3A0D20-A11D-4BB6-965C-DF4270D7F72A}">
      <dsp:nvSpPr>
        <dsp:cNvPr id="0" name=""/>
        <dsp:cNvSpPr/>
      </dsp:nvSpPr>
      <dsp:spPr>
        <a:xfrm>
          <a:off x="1988880" y="2299573"/>
          <a:ext cx="882892" cy="88289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800" b="1" kern="1200" dirty="0" smtClean="0"/>
            <a:t>Industries</a:t>
          </a:r>
          <a:endParaRPr lang="en-IN" sz="800" b="1" kern="1200" dirty="0"/>
        </a:p>
      </dsp:txBody>
      <dsp:txXfrm>
        <a:off x="2118177" y="2428870"/>
        <a:ext cx="624298" cy="624298"/>
      </dsp:txXfrm>
    </dsp:sp>
    <dsp:sp modelId="{45ADF3D5-4AF2-4817-99F2-2DDE7A10D5C5}">
      <dsp:nvSpPr>
        <dsp:cNvPr id="0" name=""/>
        <dsp:cNvSpPr/>
      </dsp:nvSpPr>
      <dsp:spPr>
        <a:xfrm rot="9000000">
          <a:off x="1799808" y="1862976"/>
          <a:ext cx="266035" cy="32695"/>
        </a:xfrm>
        <a:custGeom>
          <a:avLst/>
          <a:gdLst/>
          <a:ahLst/>
          <a:cxnLst/>
          <a:rect l="0" t="0" r="0" b="0"/>
          <a:pathLst>
            <a:path>
              <a:moveTo>
                <a:pt x="0" y="16347"/>
              </a:moveTo>
              <a:lnTo>
                <a:pt x="266035" y="1634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500" kern="1200"/>
        </a:p>
      </dsp:txBody>
      <dsp:txXfrm rot="10800000">
        <a:off x="1926175" y="1872673"/>
        <a:ext cx="13301" cy="13301"/>
      </dsp:txXfrm>
    </dsp:sp>
    <dsp:sp modelId="{37DCB91B-28EC-4CF3-8537-A91C4070485E}">
      <dsp:nvSpPr>
        <dsp:cNvPr id="0" name=""/>
        <dsp:cNvSpPr/>
      </dsp:nvSpPr>
      <dsp:spPr>
        <a:xfrm>
          <a:off x="993879" y="1725109"/>
          <a:ext cx="882892" cy="88289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800" b="1" kern="1200" dirty="0" smtClean="0"/>
            <a:t>Products</a:t>
          </a:r>
          <a:endParaRPr lang="en-IN" sz="800" b="1" kern="1200" dirty="0"/>
        </a:p>
      </dsp:txBody>
      <dsp:txXfrm>
        <a:off x="1123176" y="1854406"/>
        <a:ext cx="624298" cy="624298"/>
      </dsp:txXfrm>
    </dsp:sp>
    <dsp:sp modelId="{7F3B3B52-6938-4E90-8DA4-BB41B34017C7}">
      <dsp:nvSpPr>
        <dsp:cNvPr id="0" name=""/>
        <dsp:cNvSpPr/>
      </dsp:nvSpPr>
      <dsp:spPr>
        <a:xfrm rot="12600000">
          <a:off x="1799808" y="1288512"/>
          <a:ext cx="266035" cy="32695"/>
        </a:xfrm>
        <a:custGeom>
          <a:avLst/>
          <a:gdLst/>
          <a:ahLst/>
          <a:cxnLst/>
          <a:rect l="0" t="0" r="0" b="0"/>
          <a:pathLst>
            <a:path>
              <a:moveTo>
                <a:pt x="0" y="16347"/>
              </a:moveTo>
              <a:lnTo>
                <a:pt x="266035" y="1634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500" kern="1200"/>
        </a:p>
      </dsp:txBody>
      <dsp:txXfrm rot="10800000">
        <a:off x="1926175" y="1298209"/>
        <a:ext cx="13301" cy="13301"/>
      </dsp:txXfrm>
    </dsp:sp>
    <dsp:sp modelId="{ECE5C85E-EB8C-4CED-A254-18A1B76C6FD7}">
      <dsp:nvSpPr>
        <dsp:cNvPr id="0" name=""/>
        <dsp:cNvSpPr/>
      </dsp:nvSpPr>
      <dsp:spPr>
        <a:xfrm>
          <a:off x="993879" y="576182"/>
          <a:ext cx="882892" cy="88289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800" b="1" kern="1200" dirty="0" smtClean="0"/>
            <a:t>Countries</a:t>
          </a:r>
          <a:endParaRPr lang="en-IN" sz="800" b="1" kern="1200" dirty="0"/>
        </a:p>
      </dsp:txBody>
      <dsp:txXfrm>
        <a:off x="1123176" y="705479"/>
        <a:ext cx="624298" cy="62429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A9526C-E658-4802-9013-AF498F12A448}">
      <dsp:nvSpPr>
        <dsp:cNvPr id="0" name=""/>
        <dsp:cNvSpPr/>
      </dsp:nvSpPr>
      <dsp:spPr>
        <a:xfrm>
          <a:off x="58780" y="147312"/>
          <a:ext cx="1571778" cy="59388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b="1" kern="1200" dirty="0" smtClean="0">
              <a:solidFill>
                <a:schemeClr val="bg1"/>
              </a:solidFill>
              <a:latin typeface="Arial"/>
            </a:rPr>
            <a:t>Overview: </a:t>
          </a:r>
          <a:endParaRPr lang="en-IN" sz="1800" kern="1200" dirty="0">
            <a:solidFill>
              <a:schemeClr val="bg1"/>
            </a:solidFill>
          </a:endParaRPr>
        </a:p>
      </dsp:txBody>
      <dsp:txXfrm>
        <a:off x="87771" y="176303"/>
        <a:ext cx="1513796" cy="535901"/>
      </dsp:txXfrm>
    </dsp:sp>
    <dsp:sp modelId="{A3B25F7B-9758-4B90-A6F0-0D7D0F67E36B}">
      <dsp:nvSpPr>
        <dsp:cNvPr id="0" name=""/>
        <dsp:cNvSpPr/>
      </dsp:nvSpPr>
      <dsp:spPr>
        <a:xfrm>
          <a:off x="0" y="803481"/>
          <a:ext cx="4788650" cy="13118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040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IN" sz="1800" kern="1200" dirty="0" smtClean="0">
              <a:solidFill>
                <a:srgbClr val="002060"/>
              </a:solidFill>
              <a:latin typeface="Arial"/>
            </a:rPr>
            <a:t>This contains the description of Systems and the Integration between them.</a:t>
          </a:r>
          <a:endParaRPr lang="en-IN" sz="1800" kern="1200" dirty="0">
            <a:solidFill>
              <a:srgbClr val="002060"/>
            </a:solidFill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IN" sz="1800" kern="1200" dirty="0" smtClean="0">
              <a:solidFill>
                <a:srgbClr val="002060"/>
              </a:solidFill>
              <a:latin typeface="Arial"/>
            </a:rPr>
            <a:t>Other information's are available within overview are Integration flow, Package ID, Category and Created date.</a:t>
          </a:r>
        </a:p>
      </dsp:txBody>
      <dsp:txXfrm>
        <a:off x="0" y="803481"/>
        <a:ext cx="4788650" cy="1311862"/>
      </dsp:txXfrm>
    </dsp:sp>
    <dsp:sp modelId="{7E403407-4C34-4231-9794-9454C6EE0B7F}">
      <dsp:nvSpPr>
        <dsp:cNvPr id="0" name=""/>
        <dsp:cNvSpPr/>
      </dsp:nvSpPr>
      <dsp:spPr>
        <a:xfrm>
          <a:off x="0" y="2538786"/>
          <a:ext cx="1583463" cy="57599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b="1" kern="1200" dirty="0" smtClean="0">
              <a:solidFill>
                <a:schemeClr val="bg1"/>
              </a:solidFill>
              <a:latin typeface="Arial"/>
            </a:rPr>
            <a:t>Artifacts:</a:t>
          </a:r>
          <a:endParaRPr lang="en-IN" sz="1800" kern="1200" dirty="0">
            <a:solidFill>
              <a:schemeClr val="bg1"/>
            </a:solidFill>
          </a:endParaRPr>
        </a:p>
      </dsp:txBody>
      <dsp:txXfrm>
        <a:off x="28118" y="2566904"/>
        <a:ext cx="1527227" cy="519760"/>
      </dsp:txXfrm>
    </dsp:sp>
    <dsp:sp modelId="{9E522435-30F3-48FD-B96A-D6E948371FDE}">
      <dsp:nvSpPr>
        <dsp:cNvPr id="0" name=""/>
        <dsp:cNvSpPr/>
      </dsp:nvSpPr>
      <dsp:spPr>
        <a:xfrm>
          <a:off x="0" y="3377457"/>
          <a:ext cx="4788650" cy="18500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040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IN" sz="1800" kern="1200" dirty="0" smtClean="0">
              <a:solidFill>
                <a:srgbClr val="002060"/>
              </a:solidFill>
              <a:latin typeface="Arial"/>
            </a:rPr>
            <a:t>Integration flows for various business process are added within Artifacts.</a:t>
          </a:r>
          <a:endParaRPr lang="en-IN" sz="1800" kern="1200" dirty="0">
            <a:solidFill>
              <a:srgbClr val="002060"/>
            </a:solidFill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IN" sz="1800" kern="1200" dirty="0" smtClean="0">
              <a:solidFill>
                <a:srgbClr val="002060"/>
              </a:solidFill>
              <a:latin typeface="Arial"/>
            </a:rPr>
            <a:t>Other components available under artifacts are OData Service, Value Mapping and Data integration.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IN" sz="1800" kern="1200" dirty="0" smtClean="0">
              <a:solidFill>
                <a:srgbClr val="002060"/>
              </a:solidFill>
              <a:latin typeface="Arial"/>
            </a:rPr>
            <a:t>We can view the steps within the Integration flow from Artifacts</a:t>
          </a:r>
        </a:p>
      </dsp:txBody>
      <dsp:txXfrm>
        <a:off x="0" y="3377457"/>
        <a:ext cx="4788650" cy="18500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1000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1000" smtClean="0"/>
              <a:pPr/>
              <a:t>24/06/2019</a:t>
            </a:fld>
            <a:endParaRPr lang="pt-PT" sz="100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1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1000" smtClean="0"/>
              <a:pPr/>
              <a:t>‹#›</a:t>
            </a:fld>
            <a:endParaRPr lang="pt-PT" sz="10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0835B8F7-DAC4-4931-8AED-4356A8B2FD64}" type="datetimeFigureOut">
              <a:rPr lang="pt-BR" smtClean="0"/>
              <a:pPr/>
              <a:t>24/06/2019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 </a:t>
            </a: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pt-BR" dirty="0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None/>
      <a:defRPr sz="1000" kern="1200" baseline="0">
        <a:solidFill>
          <a:schemeClr val="tx1"/>
        </a:solidFill>
        <a:latin typeface="+mn-lt"/>
        <a:ea typeface="+mn-ea"/>
        <a:cs typeface="+mn-cs"/>
      </a:defRPr>
    </a:lvl1pPr>
    <a:lvl2pPr marL="4572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144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3716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8288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306305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>
                <a:solidFill>
                  <a:prstClr val="black"/>
                </a:solidFill>
              </a:rPr>
              <a:pPr/>
              <a:t>2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4014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>
                <a:solidFill>
                  <a:prstClr val="black"/>
                </a:solidFill>
              </a:rPr>
              <a:pPr/>
              <a:t>3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0040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>
                <a:solidFill>
                  <a:prstClr val="black"/>
                </a:solidFill>
              </a:rPr>
              <a:pPr/>
              <a:t>7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14696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</p:cSld>
  <p:clrMapOvr>
    <a:masterClrMapping/>
  </p:clrMapOvr>
  <p:transition spd="slow">
    <p:cover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54915"/>
      </p:ext>
    </p:extLst>
  </p:cSld>
  <p:clrMapOvr>
    <a:masterClrMapping/>
  </p:clrMapOvr>
  <p:transition spd="slow">
    <p:cover dir="u"/>
  </p:transition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016775979"/>
      </p:ext>
    </p:extLst>
  </p:cSld>
  <p:clrMapOvr>
    <a:masterClrMapping/>
  </p:clrMapOvr>
  <p:transition spd="slow">
    <p:cover dir="u"/>
  </p:transition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235484"/>
      </p:ext>
    </p:extLst>
  </p:cSld>
  <p:clrMapOvr>
    <a:masterClrMapping/>
  </p:clrMapOvr>
  <p:transition spd="slow">
    <p:cover dir="u"/>
  </p:transition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3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xmlns="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2476972"/>
      </p:ext>
    </p:extLst>
  </p:cSld>
  <p:clrMapOvr>
    <a:masterClrMapping/>
  </p:clrMapOvr>
  <p:transition spd="slow">
    <p:cover dir="u"/>
  </p:transition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1">
            <a:extLst>
              <a:ext uri="{FF2B5EF4-FFF2-40B4-BE49-F238E27FC236}">
                <a16:creationId xmlns:a16="http://schemas.microsoft.com/office/drawing/2014/main" xmlns="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99399" y="12267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9399" y="19129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99399" y="25934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xmlns="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9399" y="3276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99399" y="39601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9399" y="464788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9399" y="53268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xmlns="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9399" y="600837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xmlns="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68841437"/>
      </p:ext>
    </p:extLst>
  </p:cSld>
  <p:clrMapOvr>
    <a:masterClrMapping/>
  </p:clrMapOvr>
  <p:transition spd="slow">
    <p:cover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transition spd="slow">
    <p:cover dir="u"/>
  </p:transition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transition spd="slow">
    <p:cover dir="u"/>
  </p:transition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transition spd="slow">
    <p:cover dir="u"/>
  </p:transition>
  <p:extLst mod="1"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=""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040528548"/>
      </p:ext>
    </p:extLst>
  </p:cSld>
  <p:clrMapOvr>
    <a:masterClrMapping/>
  </p:clrMapOvr>
  <p:transition spd="slow">
    <p:cover dir="u"/>
  </p:transition>
  <p:extLst mod="1">
    <p:ext uri="{DCECCB84-F9BA-43D5-87BE-67443E8EF086}">
      <p15:sldGuideLst xmlns:p15="http://schemas.microsoft.com/office/powerpoint/2012/main">
        <p15:guide id="2" orient="horz" pos="93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 dirty="0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  <p:transition spd="slow">
    <p:cover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=""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  <p:transition spd="slow">
    <p:cover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  <p:transition spd="slow">
    <p:cover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  <p:transition spd="slow">
    <p:cover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</p:cSld>
  <p:clrMapOvr>
    <a:masterClrMapping/>
  </p:clrMapOvr>
  <p:transition spd="slow">
    <p:cover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Prof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  <p:transition spd="slow">
    <p:cover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1">
            <a:extLst>
              <a:ext uri="{FF2B5EF4-FFF2-40B4-BE49-F238E27FC236}">
                <a16:creationId xmlns="" xmlns:a16="http://schemas.microsoft.com/office/drawing/2014/main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99399" y="12267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9399" y="19129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99399" y="25934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=""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9399" y="3276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99399" y="39601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9399" y="464788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9399" y="53268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=""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9399" y="600837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0" name="Picture Placeholder 47">
            <a:extLst>
              <a:ext uri="{FF2B5EF4-FFF2-40B4-BE49-F238E27FC236}">
                <a16:creationId xmlns="" xmlns:a16="http://schemas.microsoft.com/office/drawing/2014/main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6048470"/>
      </p:ext>
    </p:extLst>
  </p:cSld>
  <p:clrMapOvr>
    <a:masterClrMapping/>
  </p:clrMapOvr>
  <p:transition spd="slow">
    <p:cover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225857773"/>
      </p:ext>
    </p:extLst>
  </p:cSld>
  <p:clrMapOvr>
    <a:masterClrMapping/>
  </p:clrMapOvr>
  <p:transition spd="slow">
    <p:cover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17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3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8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914" r:id="rId8"/>
    <p:sldLayoutId id="2147483930" r:id="rId9"/>
    <p:sldLayoutId id="2147483932" r:id="rId10"/>
    <p:sldLayoutId id="2147483933" r:id="rId11"/>
    <p:sldLayoutId id="2147483934" r:id="rId12"/>
    <p:sldLayoutId id="2147483935" r:id="rId13"/>
    <p:sldLayoutId id="2147483936" r:id="rId14"/>
  </p:sldLayoutIdLst>
  <p:transition spd="slow">
    <p:cover dir="u"/>
  </p:transition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4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42" r:id="rId4"/>
  </p:sldLayoutIdLst>
  <p:transition spd="slow">
    <p:cover dir="u"/>
  </p:transition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  <p15:guide id="3" pos="2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7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9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 smtClean="0"/>
              <a:t>Prepackage Content (Discover)</a:t>
            </a:r>
            <a:r>
              <a:rPr lang="en-US" dirty="0" smtClean="0"/>
              <a:t/>
            </a:r>
            <a:br>
              <a:rPr lang="en-US" dirty="0" smtClean="0"/>
            </a:br>
            <a:endParaRPr lang="en-GB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mtClean="0"/>
              <a:t>Bangalore, Raj </a:t>
            </a:r>
            <a:r>
              <a:rPr lang="en-US" dirty="0" smtClean="0"/>
              <a:t>&amp; Binod</a:t>
            </a:r>
            <a:endParaRPr lang="en-US" dirty="0"/>
          </a:p>
          <a:p>
            <a:endParaRPr lang="en-GB" dirty="0"/>
          </a:p>
        </p:txBody>
      </p:sp>
    </p:spTree>
  </p:cSld>
  <p:clrMapOvr>
    <a:masterClrMapping/>
  </p:clrMapOvr>
  <p:transition spd="slow">
    <p:cover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000" y="1557000"/>
            <a:ext cx="5688000" cy="3793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519911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latin typeface="+mn-lt"/>
                <a:ea typeface="+mn-ea"/>
                <a:cs typeface="+mn-cs"/>
              </a:rPr>
              <a:t/>
            </a:r>
            <a:br>
              <a:rPr lang="en-US" sz="3200" dirty="0">
                <a:latin typeface="+mn-lt"/>
                <a:ea typeface="+mn-ea"/>
                <a:cs typeface="+mn-cs"/>
              </a:rPr>
            </a:br>
            <a:r>
              <a:rPr lang="en-US" sz="3200" dirty="0">
                <a:latin typeface="+mn-lt"/>
                <a:ea typeface="+mn-ea"/>
                <a:cs typeface="+mn-cs"/>
              </a:rPr>
              <a:t>Table of Contents</a:t>
            </a:r>
            <a:endParaRPr lang="en-GB" sz="320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 smtClean="0"/>
              <a:t>WebUI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7899399" y="1912986"/>
            <a:ext cx="4028601" cy="555448"/>
          </a:xfrm>
        </p:spPr>
        <p:txBody>
          <a:bodyPr/>
          <a:lstStyle/>
          <a:p>
            <a:r>
              <a:rPr lang="en-US" dirty="0" smtClean="0"/>
              <a:t>Discover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N" dirty="0" smtClean="0"/>
              <a:t>Components of Pre-package</a:t>
            </a:r>
            <a:endParaRPr lang="en-IN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IN" dirty="0"/>
              <a:t>Pre-package Content Configu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968000" y="3854289"/>
            <a:ext cx="3708401" cy="555448"/>
          </a:xfrm>
        </p:spPr>
        <p:txBody>
          <a:bodyPr/>
          <a:lstStyle/>
          <a:p>
            <a:r>
              <a:rPr lang="pt-PT" dirty="0" smtClean="0">
                <a:solidFill>
                  <a:srgbClr val="2B0A3D"/>
                </a:solidFill>
              </a:rPr>
              <a:t>Demo</a:t>
            </a:r>
            <a:endParaRPr lang="pt-PT" dirty="0">
              <a:solidFill>
                <a:srgbClr val="2B0A3D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4355C12A-73CF-432A-BF98-DD896761F988}"/>
              </a:ext>
            </a:extLst>
          </p:cNvPr>
          <p:cNvGrpSpPr/>
          <p:nvPr/>
        </p:nvGrpSpPr>
        <p:grpSpPr>
          <a:xfrm>
            <a:off x="7087039" y="1204685"/>
            <a:ext cx="634560" cy="599554"/>
            <a:chOff x="6230532" y="1335315"/>
            <a:chExt cx="1204015" cy="1137596"/>
          </a:xfrm>
        </p:grpSpPr>
        <p:sp>
          <p:nvSpPr>
            <p:cNvPr id="14" name="Oval 20">
              <a:extLst>
                <a:ext uri="{FF2B5EF4-FFF2-40B4-BE49-F238E27FC236}">
                  <a16:creationId xmlns:a16="http://schemas.microsoft.com/office/drawing/2014/main" xmlns="" id="{06AC0EE6-AF4D-4FFC-ADD2-B9AE896BF230}"/>
                </a:ext>
              </a:extLst>
            </p:cNvPr>
            <p:cNvSpPr/>
            <p:nvPr/>
          </p:nvSpPr>
          <p:spPr>
            <a:xfrm>
              <a:off x="6230532" y="1335315"/>
              <a:ext cx="1204015" cy="1137596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15" name="Text Placeholder 14">
              <a:extLst>
                <a:ext uri="{FF2B5EF4-FFF2-40B4-BE49-F238E27FC236}">
                  <a16:creationId xmlns:a16="http://schemas.microsoft.com/office/drawing/2014/main" xmlns="" id="{D60C1C9E-EE4C-4D47-992A-F334F34763F0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4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1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37CE2E9A-D16D-4728-93E9-77D9F10FF84D}"/>
              </a:ext>
            </a:extLst>
          </p:cNvPr>
          <p:cNvGrpSpPr/>
          <p:nvPr/>
        </p:nvGrpSpPr>
        <p:grpSpPr>
          <a:xfrm>
            <a:off x="7087040" y="1888035"/>
            <a:ext cx="634560" cy="599554"/>
            <a:chOff x="6230534" y="1335315"/>
            <a:chExt cx="1204015" cy="1137595"/>
          </a:xfrm>
        </p:grpSpPr>
        <p:sp>
          <p:nvSpPr>
            <p:cNvPr id="17" name="Oval 20">
              <a:extLst>
                <a:ext uri="{FF2B5EF4-FFF2-40B4-BE49-F238E27FC236}">
                  <a16:creationId xmlns:a16="http://schemas.microsoft.com/office/drawing/2014/main" xmlns="" id="{1F4C00B1-EB37-4D8D-B087-B71901408CA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18" name="Text Placeholder 14">
              <a:extLst>
                <a:ext uri="{FF2B5EF4-FFF2-40B4-BE49-F238E27FC236}">
                  <a16:creationId xmlns:a16="http://schemas.microsoft.com/office/drawing/2014/main" xmlns="" id="{C4550218-B999-4F1E-AB75-81E61E844865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2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BF6695B8-A1F9-4BAF-B035-C9665FAD6B20}"/>
              </a:ext>
            </a:extLst>
          </p:cNvPr>
          <p:cNvGrpSpPr/>
          <p:nvPr/>
        </p:nvGrpSpPr>
        <p:grpSpPr>
          <a:xfrm>
            <a:off x="7087040" y="2571385"/>
            <a:ext cx="634560" cy="599554"/>
            <a:chOff x="6230534" y="1335315"/>
            <a:chExt cx="1204015" cy="1137595"/>
          </a:xfrm>
        </p:grpSpPr>
        <p:sp>
          <p:nvSpPr>
            <p:cNvPr id="20" name="Oval 20">
              <a:extLst>
                <a:ext uri="{FF2B5EF4-FFF2-40B4-BE49-F238E27FC236}">
                  <a16:creationId xmlns:a16="http://schemas.microsoft.com/office/drawing/2014/main" xmlns="" id="{08EBF9D7-5CEF-4192-B663-8C98BC244251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21" name="Text Placeholder 14">
              <a:extLst>
                <a:ext uri="{FF2B5EF4-FFF2-40B4-BE49-F238E27FC236}">
                  <a16:creationId xmlns:a16="http://schemas.microsoft.com/office/drawing/2014/main" xmlns="" id="{7A7F6C08-9BE8-4609-B27D-D68DDAB76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3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11EEF4D5-4815-4248-AFF4-A3B0893BA6AE}"/>
              </a:ext>
            </a:extLst>
          </p:cNvPr>
          <p:cNvGrpSpPr/>
          <p:nvPr/>
        </p:nvGrpSpPr>
        <p:grpSpPr>
          <a:xfrm>
            <a:off x="7087040" y="3254735"/>
            <a:ext cx="634560" cy="599554"/>
            <a:chOff x="6230534" y="1335315"/>
            <a:chExt cx="1204015" cy="1137595"/>
          </a:xfrm>
        </p:grpSpPr>
        <p:sp>
          <p:nvSpPr>
            <p:cNvPr id="23" name="Oval 20">
              <a:extLst>
                <a:ext uri="{FF2B5EF4-FFF2-40B4-BE49-F238E27FC236}">
                  <a16:creationId xmlns:a16="http://schemas.microsoft.com/office/drawing/2014/main" xmlns="" id="{65F1E6A8-6715-4312-882B-77626481164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>
                <a:solidFill>
                  <a:srgbClr val="FFFFFF"/>
                </a:solidFill>
              </a:endParaRPr>
            </a:p>
          </p:txBody>
        </p:sp>
        <p:sp>
          <p:nvSpPr>
            <p:cNvPr id="24" name="Text Placeholder 14">
              <a:extLst>
                <a:ext uri="{FF2B5EF4-FFF2-40B4-BE49-F238E27FC236}">
                  <a16:creationId xmlns:a16="http://schemas.microsoft.com/office/drawing/2014/main" xmlns="" id="{B95A5F15-CA62-4E49-8AEF-C1A9A0086C3F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4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72594B11-398B-4F44-BD01-75E581F8C550}"/>
              </a:ext>
            </a:extLst>
          </p:cNvPr>
          <p:cNvGrpSpPr/>
          <p:nvPr/>
        </p:nvGrpSpPr>
        <p:grpSpPr>
          <a:xfrm>
            <a:off x="7087040" y="3938085"/>
            <a:ext cx="634560" cy="599554"/>
            <a:chOff x="6230534" y="1335315"/>
            <a:chExt cx="1204015" cy="1137595"/>
          </a:xfrm>
        </p:grpSpPr>
        <p:sp>
          <p:nvSpPr>
            <p:cNvPr id="26" name="Oval 20">
              <a:extLst>
                <a:ext uri="{FF2B5EF4-FFF2-40B4-BE49-F238E27FC236}">
                  <a16:creationId xmlns:a16="http://schemas.microsoft.com/office/drawing/2014/main" xmlns="" id="{17E8B294-1CC0-4A4C-85F9-C7DB5881222A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>
                <a:solidFill>
                  <a:srgbClr val="FFFFFF"/>
                </a:solidFill>
              </a:endParaRPr>
            </a:p>
          </p:txBody>
        </p:sp>
        <p:sp>
          <p:nvSpPr>
            <p:cNvPr id="27" name="Text Placeholder 14">
              <a:extLst>
                <a:ext uri="{FF2B5EF4-FFF2-40B4-BE49-F238E27FC236}">
                  <a16:creationId xmlns:a16="http://schemas.microsoft.com/office/drawing/2014/main" xmlns="" id="{09E1C985-F8CD-41D6-8959-B41A3B951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62761"/>
              <a:ext cx="887568" cy="482705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5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0585667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 build="p"/>
      <p:bldP spid="6" grpId="0" build="p"/>
      <p:bldP spid="7" grpId="0" build="p"/>
      <p:bldP spid="8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1.WEBUI</a:t>
            </a:r>
            <a:endParaRPr lang="en-GB" b="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EB36DC33-F5B2-4E64-8C47-A2D2D4646A33}"/>
              </a:ext>
            </a:extLst>
          </p:cNvPr>
          <p:cNvSpPr/>
          <p:nvPr/>
        </p:nvSpPr>
        <p:spPr>
          <a:xfrm>
            <a:off x="227349" y="1118105"/>
            <a:ext cx="3852651" cy="480131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  <a:defRPr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AP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CPI </a:t>
            </a:r>
            <a:r>
              <a:rPr lang="en-IN" kern="0" dirty="0" err="1" smtClean="0">
                <a:solidFill>
                  <a:srgbClr val="002060"/>
                </a:solidFill>
                <a:latin typeface="Arial"/>
              </a:rPr>
              <a:t>WebUI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 tools allows the developers to Copy/Create a integration content, Deploy and monitor it.</a:t>
            </a:r>
            <a:endParaRPr lang="en-IN" kern="0" dirty="0">
              <a:solidFill>
                <a:srgbClr val="002060"/>
              </a:solidFill>
              <a:latin typeface="Arial"/>
            </a:endParaRPr>
          </a:p>
          <a:p>
            <a:pPr marL="800100" lvl="1" indent="-34290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060"/>
                </a:solidFill>
                <a:latin typeface="Arial"/>
              </a:rPr>
              <a:t>Discover contains Standard Integration Content Catalog.</a:t>
            </a:r>
          </a:p>
          <a:p>
            <a:pPr marL="800100" lvl="1" indent="-34290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060"/>
                </a:solidFill>
                <a:latin typeface="Arial"/>
              </a:rPr>
              <a:t>Design helps to create/edit a content using Modelling area</a:t>
            </a:r>
            <a:endParaRPr lang="en-IN" kern="0" dirty="0">
              <a:solidFill>
                <a:srgbClr val="002060"/>
              </a:solidFill>
              <a:latin typeface="Arial"/>
            </a:endParaRPr>
          </a:p>
          <a:p>
            <a:pPr marL="800100" lvl="1" indent="-34290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060"/>
                </a:solidFill>
                <a:latin typeface="Arial"/>
              </a:rPr>
              <a:t>Operation’s view/ Monitoring is used to monitor deployed content and the message processed.</a:t>
            </a:r>
          </a:p>
          <a:p>
            <a:pPr marL="800100" lvl="1" indent="-34290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060"/>
                </a:solidFill>
                <a:latin typeface="Arial"/>
              </a:rPr>
              <a:t>Message Processing Logs and Traces are stored in Operations view.</a:t>
            </a:r>
            <a:endParaRPr lang="en-IN" kern="0" dirty="0">
              <a:solidFill>
                <a:srgbClr val="002060"/>
              </a:solidFill>
              <a:latin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0694" y="1485000"/>
            <a:ext cx="7625531" cy="4056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936033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-54864"/>
            <a:ext cx="11125236" cy="1104900"/>
          </a:xfrm>
        </p:spPr>
        <p:txBody>
          <a:bodyPr/>
          <a:lstStyle/>
          <a:p>
            <a:r>
              <a:rPr lang="en-IN" b="1" dirty="0" smtClean="0"/>
              <a:t>2.Discover</a:t>
            </a:r>
            <a:endParaRPr lang="en-IN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0023" y="3450013"/>
            <a:ext cx="5932560" cy="283154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909002"/>
            <a:ext cx="5076652" cy="2435352"/>
          </a:xfrm>
        </p:spPr>
        <p:txBody>
          <a:bodyPr>
            <a:normAutofit lnSpcReduction="10000"/>
          </a:bodyPr>
          <a:lstStyle/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Discover contains Standard Integration Content Catalog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.</a:t>
            </a:r>
          </a:p>
          <a:p>
            <a:pPr marL="742950" lvl="1" indent="-285750" defTabSz="957756"/>
            <a:r>
              <a:rPr lang="en-IN" kern="0" dirty="0" smtClean="0">
                <a:solidFill>
                  <a:srgbClr val="002060"/>
                </a:solidFill>
                <a:latin typeface="Arial"/>
              </a:rPr>
              <a:t>Packages are tested and published by SAP. </a:t>
            </a:r>
          </a:p>
          <a:p>
            <a:pPr marL="742950" lvl="1" indent="-285750" defTabSz="957756"/>
            <a:r>
              <a:rPr lang="en-IN" kern="0" dirty="0" smtClean="0">
                <a:solidFill>
                  <a:srgbClr val="002060"/>
                </a:solidFill>
                <a:latin typeface="Arial"/>
              </a:rPr>
              <a:t>These packages are well documented and released with Configure only </a:t>
            </a:r>
            <a:r>
              <a:rPr lang="en-IN" kern="0" smtClean="0">
                <a:solidFill>
                  <a:srgbClr val="002060"/>
                </a:solidFill>
                <a:latin typeface="Arial"/>
              </a:rPr>
              <a:t>mode for most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of the package. </a:t>
            </a:r>
          </a:p>
          <a:p>
            <a:pPr marL="742950" lvl="1" indent="-285750" defTabSz="957756"/>
            <a:r>
              <a:rPr lang="en-IN" kern="0" dirty="0" smtClean="0">
                <a:solidFill>
                  <a:srgbClr val="002060"/>
                </a:solidFill>
                <a:latin typeface="Arial"/>
              </a:rPr>
              <a:t>Standard packages have to copied to Own workspace and deployed by providing connectivity details</a:t>
            </a:r>
          </a:p>
          <a:p>
            <a:pPr marL="457200" lvl="1" indent="0" defTabSz="957756">
              <a:buNone/>
            </a:pPr>
            <a:endParaRPr lang="en-IN" kern="0" dirty="0">
              <a:solidFill>
                <a:srgbClr val="00264A"/>
              </a:solidFill>
              <a:latin typeface="Arial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0023" y="909001"/>
            <a:ext cx="5932561" cy="2435352"/>
          </a:xfrm>
          <a:prstGeom prst="rect">
            <a:avLst/>
          </a:prstGeom>
        </p:spPr>
      </p:pic>
      <p:graphicFrame>
        <p:nvGraphicFramePr>
          <p:cNvPr id="29" name="Diagram 28"/>
          <p:cNvGraphicFramePr/>
          <p:nvPr>
            <p:extLst>
              <p:ext uri="{D42A27DB-BD31-4B8C-83A1-F6EECF244321}">
                <p14:modId xmlns:p14="http://schemas.microsoft.com/office/powerpoint/2010/main" val="2619896206"/>
              </p:ext>
            </p:extLst>
          </p:nvPr>
        </p:nvGraphicFramePr>
        <p:xfrm>
          <a:off x="255331" y="3344353"/>
          <a:ext cx="4860653" cy="318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446211362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Graphic spid="29" grpId="0">
        <p:bldAsOne/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 smtClean="0"/>
              <a:t>3.Components of Pre-package</a:t>
            </a:r>
            <a:endParaRPr lang="en-IN" b="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0054" y="987544"/>
            <a:ext cx="5981700" cy="272415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0054" y="3789000"/>
            <a:ext cx="6286500" cy="2733675"/>
          </a:xfrm>
          <a:prstGeom prst="rect">
            <a:avLst/>
          </a:prstGeom>
        </p:spPr>
      </p:pic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842025481"/>
              </p:ext>
            </p:extLst>
          </p:nvPr>
        </p:nvGraphicFramePr>
        <p:xfrm>
          <a:off x="227349" y="987544"/>
          <a:ext cx="4788651" cy="55351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107582592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8" y="-56388"/>
            <a:ext cx="11125236" cy="1104900"/>
          </a:xfrm>
        </p:spPr>
        <p:txBody>
          <a:bodyPr/>
          <a:lstStyle/>
          <a:p>
            <a:r>
              <a:rPr lang="en-IN" b="1" dirty="0"/>
              <a:t>3</a:t>
            </a:r>
            <a:r>
              <a:rPr lang="en-IN" b="1" dirty="0" smtClean="0"/>
              <a:t>.Components </a:t>
            </a:r>
            <a:r>
              <a:rPr lang="en-IN" b="1" dirty="0"/>
              <a:t>of </a:t>
            </a:r>
            <a:r>
              <a:rPr lang="en-IN" b="1" dirty="0" err="1"/>
              <a:t>Prepackage</a:t>
            </a:r>
            <a:endParaRPr lang="en-IN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1051104"/>
            <a:ext cx="5076652" cy="2015999"/>
          </a:xfrm>
        </p:spPr>
        <p:txBody>
          <a:bodyPr>
            <a:normAutofit/>
          </a:bodyPr>
          <a:lstStyle/>
          <a:p>
            <a:r>
              <a:rPr lang="en-IN" sz="1800" b="1" kern="0" dirty="0">
                <a:solidFill>
                  <a:srgbClr val="002060"/>
                </a:solidFill>
                <a:latin typeface="Arial"/>
              </a:rPr>
              <a:t>Documents:</a:t>
            </a:r>
          </a:p>
          <a:p>
            <a:r>
              <a:rPr lang="en-IN" sz="1800" kern="0" dirty="0">
                <a:solidFill>
                  <a:srgbClr val="002060"/>
                </a:solidFill>
                <a:latin typeface="Arial"/>
              </a:rPr>
              <a:t>Integration Guide is provided for some package with step by step process under Documentation section. </a:t>
            </a:r>
          </a:p>
          <a:p>
            <a:r>
              <a:rPr lang="en-IN" sz="1800" kern="0" dirty="0">
                <a:solidFill>
                  <a:srgbClr val="002060"/>
                </a:solidFill>
                <a:latin typeface="Arial"/>
              </a:rPr>
              <a:t>PDF Document can be </a:t>
            </a:r>
            <a:r>
              <a:rPr lang="en-IN" sz="1800" kern="0" dirty="0" smtClean="0">
                <a:solidFill>
                  <a:srgbClr val="002060"/>
                </a:solidFill>
                <a:latin typeface="Arial"/>
              </a:rPr>
              <a:t>downloaded. Changes </a:t>
            </a:r>
            <a:r>
              <a:rPr lang="en-IN" sz="1800" kern="0" dirty="0">
                <a:solidFill>
                  <a:srgbClr val="002060"/>
                </a:solidFill>
                <a:latin typeface="Arial"/>
              </a:rPr>
              <a:t>for the package is maintained in Change Log and added in Documents Tab</a:t>
            </a:r>
            <a:r>
              <a:rPr lang="en-IN" sz="1800" kern="0" dirty="0" smtClean="0">
                <a:solidFill>
                  <a:srgbClr val="002060"/>
                </a:solidFill>
                <a:latin typeface="Arial"/>
              </a:rPr>
              <a:t>.</a:t>
            </a:r>
            <a:endParaRPr lang="en-IN" sz="1800" kern="0" dirty="0">
              <a:solidFill>
                <a:srgbClr val="002060"/>
              </a:solidFill>
              <a:latin typeface="Arial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0537" y="849977"/>
            <a:ext cx="5619750" cy="2781300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74883" y="3208464"/>
            <a:ext cx="5076652" cy="1008000"/>
          </a:xfrm>
        </p:spPr>
        <p:txBody>
          <a:bodyPr>
            <a:normAutofit/>
          </a:bodyPr>
          <a:lstStyle/>
          <a:p>
            <a:r>
              <a:rPr lang="en-IN" sz="1800" b="1" kern="0" dirty="0" smtClean="0">
                <a:solidFill>
                  <a:srgbClr val="002060"/>
                </a:solidFill>
                <a:latin typeface="Arial"/>
              </a:rPr>
              <a:t>Tags</a:t>
            </a:r>
            <a:r>
              <a:rPr lang="en-IN" sz="1800" b="1" kern="0" dirty="0">
                <a:solidFill>
                  <a:srgbClr val="002060"/>
                </a:solidFill>
                <a:latin typeface="Arial"/>
              </a:rPr>
              <a:t>:</a:t>
            </a:r>
          </a:p>
          <a:p>
            <a:r>
              <a:rPr lang="en-IN" sz="1800" kern="0" dirty="0">
                <a:solidFill>
                  <a:srgbClr val="002060"/>
                </a:solidFill>
                <a:latin typeface="Arial"/>
              </a:rPr>
              <a:t>Packages are tagged with the Key words like Product, Country, Line of Business</a:t>
            </a:r>
            <a:r>
              <a:rPr lang="en-IN" sz="1800" kern="0" dirty="0" smtClean="0">
                <a:solidFill>
                  <a:srgbClr val="002060"/>
                </a:solidFill>
                <a:latin typeface="Arial"/>
              </a:rPr>
              <a:t>.</a:t>
            </a:r>
            <a:endParaRPr lang="en-IN" sz="1800" kern="0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74883" y="4365000"/>
            <a:ext cx="5076652" cy="1492953"/>
          </a:xfrm>
        </p:spPr>
        <p:txBody>
          <a:bodyPr>
            <a:normAutofit/>
          </a:bodyPr>
          <a:lstStyle/>
          <a:p>
            <a:r>
              <a:rPr lang="en-IN" sz="1800" b="1" kern="0" dirty="0" smtClean="0">
                <a:solidFill>
                  <a:srgbClr val="002060"/>
                </a:solidFill>
                <a:latin typeface="Arial"/>
              </a:rPr>
              <a:t>Ratings</a:t>
            </a:r>
            <a:r>
              <a:rPr lang="en-IN" sz="1800" b="1" kern="0" dirty="0">
                <a:solidFill>
                  <a:srgbClr val="002060"/>
                </a:solidFill>
                <a:latin typeface="Arial"/>
              </a:rPr>
              <a:t>:</a:t>
            </a:r>
          </a:p>
          <a:p>
            <a:r>
              <a:rPr lang="en-IN" sz="1800" kern="0" dirty="0">
                <a:solidFill>
                  <a:srgbClr val="002060"/>
                </a:solidFill>
                <a:latin typeface="Arial"/>
              </a:rPr>
              <a:t>Consumer Ratings and Comments for the are Standard content are added in Rating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42437" y="3717000"/>
            <a:ext cx="5657850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002411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10" grpId="0" uiExpand="1" build="p"/>
      <p:bldP spid="11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4.Prepackage Content Configuration</a:t>
            </a:r>
            <a:endParaRPr lang="en-GB" b="1" dirty="0"/>
          </a:p>
        </p:txBody>
      </p:sp>
      <p:pic>
        <p:nvPicPr>
          <p:cNvPr id="5" name="Picture 4"/>
          <p:cNvPicPr/>
          <p:nvPr/>
        </p:nvPicPr>
        <p:blipFill>
          <a:blip r:embed="rId3"/>
          <a:stretch>
            <a:fillRect/>
          </a:stretch>
        </p:blipFill>
        <p:spPr>
          <a:xfrm>
            <a:off x="1776000" y="1485000"/>
            <a:ext cx="2655570" cy="1408430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>
          <a:blip r:embed="rId4"/>
          <a:stretch>
            <a:fillRect/>
          </a:stretch>
        </p:blipFill>
        <p:spPr>
          <a:xfrm>
            <a:off x="5736000" y="789753"/>
            <a:ext cx="5040000" cy="2552015"/>
          </a:xfrm>
          <a:prstGeom prst="rect">
            <a:avLst/>
          </a:prstGeom>
        </p:spPr>
      </p:pic>
      <p:sp>
        <p:nvSpPr>
          <p:cNvPr id="7" name="Text Box 6"/>
          <p:cNvSpPr txBox="1"/>
          <p:nvPr/>
        </p:nvSpPr>
        <p:spPr>
          <a:xfrm>
            <a:off x="3360000" y="3026620"/>
            <a:ext cx="1372215" cy="246910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ply Filters</a:t>
            </a:r>
          </a:p>
        </p:txBody>
      </p:sp>
      <p:pic>
        <p:nvPicPr>
          <p:cNvPr id="8" name="Picture 7"/>
          <p:cNvPicPr/>
          <p:nvPr/>
        </p:nvPicPr>
        <p:blipFill>
          <a:blip r:embed="rId5"/>
          <a:stretch>
            <a:fillRect/>
          </a:stretch>
        </p:blipFill>
        <p:spPr>
          <a:xfrm>
            <a:off x="7637688" y="4032751"/>
            <a:ext cx="3138312" cy="1483950"/>
          </a:xfrm>
          <a:prstGeom prst="rect">
            <a:avLst/>
          </a:prstGeom>
        </p:spPr>
      </p:pic>
      <p:sp>
        <p:nvSpPr>
          <p:cNvPr id="10" name="Text Box 7"/>
          <p:cNvSpPr txBox="1"/>
          <p:nvPr/>
        </p:nvSpPr>
        <p:spPr>
          <a:xfrm>
            <a:off x="5716008" y="4224672"/>
            <a:ext cx="1475232" cy="539343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py to Own Workspace</a:t>
            </a:r>
          </a:p>
        </p:txBody>
      </p:sp>
      <p:sp>
        <p:nvSpPr>
          <p:cNvPr id="11" name="Text Box 7"/>
          <p:cNvSpPr txBox="1"/>
          <p:nvPr/>
        </p:nvSpPr>
        <p:spPr>
          <a:xfrm>
            <a:off x="5716008" y="4941000"/>
            <a:ext cx="1459992" cy="282022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vide Suffix</a:t>
            </a:r>
            <a:endParaRPr lang="en-IN" sz="14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0000" y="3512312"/>
            <a:ext cx="4905602" cy="2163340"/>
          </a:xfrm>
          <a:prstGeom prst="rect">
            <a:avLst/>
          </a:prstGeom>
        </p:spPr>
      </p:pic>
      <p:sp>
        <p:nvSpPr>
          <p:cNvPr id="13" name="Right Arrow 12"/>
          <p:cNvSpPr/>
          <p:nvPr/>
        </p:nvSpPr>
        <p:spPr>
          <a:xfrm>
            <a:off x="4874107" y="3086540"/>
            <a:ext cx="720000" cy="12345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Text Box 7"/>
          <p:cNvSpPr txBox="1"/>
          <p:nvPr/>
        </p:nvSpPr>
        <p:spPr>
          <a:xfrm>
            <a:off x="5716008" y="3518753"/>
            <a:ext cx="1475232" cy="539343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400" b="1" dirty="0" smtClean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ect the Package</a:t>
            </a:r>
            <a:endParaRPr lang="en-IN" sz="14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436176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  <p:bldP spid="11" grpId="0" animBg="1"/>
      <p:bldP spid="13" grpId="0" animBg="1"/>
      <p:bldP spid="1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4.Prepackage </a:t>
            </a:r>
            <a:r>
              <a:rPr lang="en-US" b="1" dirty="0"/>
              <a:t>Content Configuration</a:t>
            </a:r>
            <a:endParaRPr lang="en-IN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000" y="981000"/>
            <a:ext cx="2994525" cy="181757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2000" y="1256418"/>
            <a:ext cx="7942185" cy="1390635"/>
          </a:xfrm>
          <a:prstGeom prst="rect">
            <a:avLst/>
          </a:prstGeom>
        </p:spPr>
      </p:pic>
      <p:sp>
        <p:nvSpPr>
          <p:cNvPr id="5" name="Right Arrow 4"/>
          <p:cNvSpPr/>
          <p:nvPr/>
        </p:nvSpPr>
        <p:spPr>
          <a:xfrm>
            <a:off x="3474525" y="2349000"/>
            <a:ext cx="605475" cy="216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03033" y="3285000"/>
            <a:ext cx="9991152" cy="288680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08000" y="3789000"/>
            <a:ext cx="1584000" cy="116955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IN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ackage is added to Own workspace with Prefix and Editable</a:t>
            </a:r>
            <a:endParaRPr lang="en-IN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6945562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1268999"/>
            <a:ext cx="11700000" cy="5012553"/>
          </a:xfrm>
        </p:spPr>
        <p:txBody>
          <a:bodyPr/>
          <a:lstStyle/>
          <a:p>
            <a:pPr algn="ctr"/>
            <a:endParaRPr lang="en-IN" b="1" dirty="0" smtClean="0">
              <a:solidFill>
                <a:schemeClr val="accent1"/>
              </a:solidFill>
              <a:ea typeface="+mj-ea"/>
              <a:cs typeface="+mj-cs"/>
            </a:endParaRPr>
          </a:p>
          <a:p>
            <a:pPr algn="ctr"/>
            <a:endParaRPr lang="en-IN" b="1" dirty="0">
              <a:solidFill>
                <a:schemeClr val="accent1"/>
              </a:solidFill>
              <a:ea typeface="+mj-ea"/>
              <a:cs typeface="+mj-cs"/>
            </a:endParaRPr>
          </a:p>
          <a:p>
            <a:pPr algn="ctr"/>
            <a:endParaRPr lang="en-IN" b="1" dirty="0" smtClean="0">
              <a:solidFill>
                <a:schemeClr val="accent1"/>
              </a:solidFill>
              <a:ea typeface="+mj-ea"/>
              <a:cs typeface="+mj-cs"/>
            </a:endParaRPr>
          </a:p>
          <a:p>
            <a:pPr algn="ctr"/>
            <a:r>
              <a:rPr lang="en-IN" b="1" dirty="0" smtClean="0">
                <a:solidFill>
                  <a:schemeClr val="accent1"/>
                </a:solidFill>
                <a:ea typeface="+mj-ea"/>
                <a:cs typeface="+mj-cs"/>
              </a:rPr>
              <a:t>Package:</a:t>
            </a:r>
          </a:p>
          <a:p>
            <a:pPr algn="ctr"/>
            <a:r>
              <a:rPr lang="en-IN" sz="1600" b="1" dirty="0" smtClean="0"/>
              <a:t>SAP </a:t>
            </a:r>
            <a:r>
              <a:rPr lang="en-IN" sz="1600" b="1" dirty="0" err="1"/>
              <a:t>SuccessFactors</a:t>
            </a:r>
            <a:r>
              <a:rPr lang="en-IN" sz="1600" b="1" dirty="0"/>
              <a:t> Employee Central to ERP Employee and Organizational Data</a:t>
            </a:r>
            <a:endParaRPr lang="en-IN" sz="1600" b="1" dirty="0">
              <a:solidFill>
                <a:schemeClr val="accent1"/>
              </a:solidFill>
              <a:ea typeface="+mj-ea"/>
              <a:cs typeface="+mj-cs"/>
            </a:endParaRPr>
          </a:p>
        </p:txBody>
      </p:sp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IN" b="1" dirty="0"/>
              <a:t>5.DEMO</a:t>
            </a:r>
          </a:p>
        </p:txBody>
      </p:sp>
    </p:spTree>
    <p:extLst>
      <p:ext uri="{BB962C8B-B14F-4D97-AF65-F5344CB8AC3E}">
        <p14:creationId xmlns:p14="http://schemas.microsoft.com/office/powerpoint/2010/main" val="1251550462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1E53BF59-8A3C-4B78-911D-5EA861346572}"/>
    </a:ext>
  </a:extLst>
</a:theme>
</file>

<file path=ppt/theme/theme2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BBB9F49C-7C56-443B-8448-8AD796982054}"/>
    </a:ext>
  </a:extLst>
</a:theme>
</file>

<file path=ppt/theme/theme3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4C467F55C93D747A8EE11124012BCB3" ma:contentTypeVersion="" ma:contentTypeDescription="Create a new document." ma:contentTypeScope="" ma:versionID="30ff2bc0617e3ebd824d48b484c7291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f3e687d5f98ee29b9cfcc2ff24550dc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E2E0B0C-2FF4-4303-8A8A-D88D0977EAF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7C1CD22-889C-4FCC-83D3-F6F89D5A127B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583D651-AB51-417A-9102-34B5B104AAF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40</TotalTime>
  <Words>335</Words>
  <Application>Microsoft Office PowerPoint</Application>
  <PresentationFormat>Widescreen</PresentationFormat>
  <Paragraphs>64</Paragraphs>
  <Slides>1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Verdana</vt:lpstr>
      <vt:lpstr>Wingdings</vt:lpstr>
      <vt:lpstr>Capgemini Master</vt:lpstr>
      <vt:lpstr>Title Slide</vt:lpstr>
      <vt:lpstr>think-cell Slide</vt:lpstr>
      <vt:lpstr>Prepackage Content (Discover) </vt:lpstr>
      <vt:lpstr> Table of Contents</vt:lpstr>
      <vt:lpstr>1.WEBUI</vt:lpstr>
      <vt:lpstr>2.Discover</vt:lpstr>
      <vt:lpstr>3.Components of Pre-package</vt:lpstr>
      <vt:lpstr>3.Components of Prepackage</vt:lpstr>
      <vt:lpstr>4.Prepackage Content Configuration</vt:lpstr>
      <vt:lpstr>4.Prepackage Content Configuration</vt:lpstr>
      <vt:lpstr>5.DEMO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G ppt-template-full-kit</dc:title>
  <dc:creator>Capgemini</dc:creator>
  <cp:lastModifiedBy>Kumar, Raj</cp:lastModifiedBy>
  <cp:revision>179</cp:revision>
  <dcterms:created xsi:type="dcterms:W3CDTF">2017-11-02T14:01:05Z</dcterms:created>
  <dcterms:modified xsi:type="dcterms:W3CDTF">2019-06-24T11:1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4C467F55C93D747A8EE11124012BCB3</vt:lpwstr>
  </property>
</Properties>
</file>